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5" r:id="rId4"/>
    <p:sldMasterId id="2147484427" r:id="rId5"/>
    <p:sldMasterId id="2147484452" r:id="rId6"/>
  </p:sldMasterIdLst>
  <p:notesMasterIdLst>
    <p:notesMasterId r:id="rId19"/>
  </p:notesMasterIdLst>
  <p:handoutMasterIdLst>
    <p:handoutMasterId r:id="rId20"/>
  </p:handoutMasterIdLst>
  <p:sldIdLst>
    <p:sldId id="304" r:id="rId7"/>
    <p:sldId id="319" r:id="rId8"/>
    <p:sldId id="360" r:id="rId9"/>
    <p:sldId id="385" r:id="rId10"/>
    <p:sldId id="386" r:id="rId11"/>
    <p:sldId id="363" r:id="rId12"/>
    <p:sldId id="384" r:id="rId13"/>
    <p:sldId id="308" r:id="rId14"/>
    <p:sldId id="387" r:id="rId15"/>
    <p:sldId id="369" r:id="rId16"/>
    <p:sldId id="335" r:id="rId17"/>
    <p:sldId id="367" r:id="rId18"/>
  </p:sldIdLst>
  <p:sldSz cx="12190413" cy="6858000"/>
  <p:notesSz cx="7010400" cy="92964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49">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guide id="27" pos="3716">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2857">
          <p15:clr>
            <a:srgbClr val="A4A3A4"/>
          </p15:clr>
        </p15:guide>
        <p15:guide id="4" pos="1968">
          <p15:clr>
            <a:srgbClr val="A4A3A4"/>
          </p15:clr>
        </p15:guide>
        <p15:guide id="5" orient="horz" pos="2672">
          <p15:clr>
            <a:srgbClr val="A4A3A4"/>
          </p15:clr>
        </p15:guide>
        <p15:guide id="6" orient="horz" pos="2651">
          <p15:clr>
            <a:srgbClr val="A4A3A4"/>
          </p15:clr>
        </p15:guide>
        <p15:guide id="7" pos="2198">
          <p15:clr>
            <a:srgbClr val="A4A3A4"/>
          </p15:clr>
        </p15:guide>
        <p15:guide id="8" pos="200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488C"/>
    <a:srgbClr val="FFC000"/>
    <a:srgbClr val="9F4292"/>
    <a:srgbClr val="0070C0"/>
    <a:srgbClr val="2F9C40"/>
    <a:srgbClr val="74C713"/>
    <a:srgbClr val="00A5E2"/>
    <a:srgbClr val="E61A5D"/>
    <a:srgbClr val="FF3162"/>
    <a:srgbClr val="6249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0978" autoAdjust="0"/>
  </p:normalViewPr>
  <p:slideViewPr>
    <p:cSldViewPr snapToGrid="0" snapToObjects="1" showGuides="1">
      <p:cViewPr varScale="1">
        <p:scale>
          <a:sx n="63" d="100"/>
          <a:sy n="63" d="100"/>
        </p:scale>
        <p:origin x="-852" y="-96"/>
      </p:cViewPr>
      <p:guideLst>
        <p:guide orient="horz" pos="1093"/>
        <p:guide orient="horz" pos="2478"/>
        <p:guide orient="horz" pos="2704"/>
        <p:guide orient="horz" pos="4086"/>
        <p:guide orient="horz" pos="2592"/>
        <p:guide pos="619"/>
        <p:guide pos="7422"/>
        <p:guide pos="2149"/>
        <p:guide pos="3908"/>
        <p:guide pos="2376"/>
        <p:guide pos="5666"/>
        <p:guide pos="5894"/>
        <p:guide pos="4134"/>
        <p:guide pos="4020"/>
        <p:guide pos="3716"/>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5" d="100"/>
          <a:sy n="75" d="100"/>
        </p:scale>
        <p:origin x="-4050" y="-114"/>
      </p:cViewPr>
      <p:guideLst>
        <p:guide orient="horz" pos="2880"/>
        <p:guide orient="horz" pos="2857"/>
        <p:guide orient="horz" pos="2672"/>
        <p:guide orient="horz" pos="2651"/>
        <p:guide pos="2160"/>
        <p:guide pos="1968"/>
        <p:guide pos="2198"/>
        <p:guide pos="200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5450" y="163949"/>
            <a:ext cx="6089790" cy="165669"/>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2" name="Date Placeholder 2"/>
          <p:cNvSpPr>
            <a:spLocks noGrp="1"/>
          </p:cNvSpPr>
          <p:nvPr>
            <p:ph type="dt" sz="quarter" idx="1"/>
          </p:nvPr>
        </p:nvSpPr>
        <p:spPr bwMode="gray">
          <a:xfrm>
            <a:off x="6327188" y="8972622"/>
            <a:ext cx="500995" cy="165669"/>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10/2019</a:t>
            </a:fld>
            <a:endParaRPr lang="en-US" dirty="0"/>
          </a:p>
        </p:txBody>
      </p:sp>
      <p:sp>
        <p:nvSpPr>
          <p:cNvPr id="13" name="Footer Placeholder 3"/>
          <p:cNvSpPr>
            <a:spLocks noGrp="1"/>
          </p:cNvSpPr>
          <p:nvPr>
            <p:ph type="ftr" sz="quarter" idx="2"/>
          </p:nvPr>
        </p:nvSpPr>
        <p:spPr bwMode="gray">
          <a:xfrm>
            <a:off x="503710" y="8972622"/>
            <a:ext cx="5666733" cy="165669"/>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Slide Number Placeholder 4"/>
          <p:cNvSpPr>
            <a:spLocks noGrp="1"/>
          </p:cNvSpPr>
          <p:nvPr>
            <p:ph type="sldNum" sz="quarter" idx="3"/>
          </p:nvPr>
        </p:nvSpPr>
        <p:spPr bwMode="gray">
          <a:xfrm>
            <a:off x="178821" y="8972622"/>
            <a:ext cx="193909" cy="165669"/>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7"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gray">
          <a:xfrm>
            <a:off x="6454310" y="178551"/>
            <a:ext cx="370726" cy="337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emf"/><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304800" y="573088"/>
            <a:ext cx="3055938" cy="1719262"/>
          </a:xfrm>
          <a:prstGeom prst="rect">
            <a:avLst/>
          </a:prstGeom>
          <a:noFill/>
          <a:ln w="12700">
            <a:solidFill>
              <a:schemeClr val="bg1">
                <a:lumMod val="75000"/>
              </a:schemeClr>
            </a:solidFill>
          </a:ln>
        </p:spPr>
        <p:txBody>
          <a:bodyPr vert="horz" lIns="87598" tIns="43799" rIns="87598" bIns="43799" rtlCol="0" anchor="ctr"/>
          <a:lstStyle/>
          <a:p>
            <a:endParaRPr lang="en-US"/>
          </a:p>
        </p:txBody>
      </p:sp>
      <p:sp>
        <p:nvSpPr>
          <p:cNvPr id="5" name="Notes Placeholder 4"/>
          <p:cNvSpPr>
            <a:spLocks noGrp="1"/>
          </p:cNvSpPr>
          <p:nvPr>
            <p:ph type="body" sz="quarter" idx="3"/>
          </p:nvPr>
        </p:nvSpPr>
        <p:spPr bwMode="gray">
          <a:xfrm>
            <a:off x="196210" y="2726203"/>
            <a:ext cx="6621977" cy="5997975"/>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eader Placeholder 1"/>
          <p:cNvSpPr>
            <a:spLocks noGrp="1"/>
          </p:cNvSpPr>
          <p:nvPr>
            <p:ph type="hdr" sz="quarter"/>
          </p:nvPr>
        </p:nvSpPr>
        <p:spPr bwMode="gray">
          <a:xfrm>
            <a:off x="203481" y="170030"/>
            <a:ext cx="6005116" cy="171814"/>
          </a:xfrm>
          <a:prstGeom prst="rect">
            <a:avLst/>
          </a:prstGeom>
        </p:spPr>
        <p:txBody>
          <a:bodyPr vert="horz" lIns="0" tIns="0" rIns="0" bIns="0" rtlCol="0"/>
          <a:lstStyle>
            <a:lvl1pPr algn="l">
              <a:defRPr sz="700"/>
            </a:lvl1pPr>
            <a:lvl2pPr marL="4563" indent="0">
              <a:defRPr sz="700"/>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4" name="Date Placeholder 2"/>
          <p:cNvSpPr>
            <a:spLocks noGrp="1"/>
          </p:cNvSpPr>
          <p:nvPr>
            <p:ph type="dt" sz="quarter" idx="1"/>
          </p:nvPr>
        </p:nvSpPr>
        <p:spPr bwMode="gray">
          <a:xfrm>
            <a:off x="6266779" y="8960762"/>
            <a:ext cx="549837" cy="171814"/>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10/10/2019</a:t>
            </a:fld>
            <a:endParaRPr lang="en-US" dirty="0"/>
          </a:p>
        </p:txBody>
      </p:sp>
      <p:sp>
        <p:nvSpPr>
          <p:cNvPr id="15" name="Footer Placeholder 3"/>
          <p:cNvSpPr>
            <a:spLocks noGrp="1"/>
          </p:cNvSpPr>
          <p:nvPr>
            <p:ph type="ftr" sz="quarter" idx="4"/>
          </p:nvPr>
        </p:nvSpPr>
        <p:spPr bwMode="gray">
          <a:xfrm>
            <a:off x="557504" y="8960762"/>
            <a:ext cx="5562654" cy="171814"/>
          </a:xfrm>
          <a:prstGeom prst="rect">
            <a:avLst/>
          </a:prstGeom>
        </p:spPr>
        <p:txBody>
          <a:bodyPr vert="horz" lIns="0" tIns="0" rIns="0" bIns="0" rtlCol="0" anchor="b"/>
          <a:lstStyle>
            <a:lvl1pPr algn="l">
              <a:defRPr sz="700"/>
            </a:lvl1pPr>
            <a:lvl2pPr marL="4563" indent="0">
              <a:defRPr sz="700">
                <a:solidFill>
                  <a:schemeClr val="tx1"/>
                </a:solidFill>
              </a:defRPr>
            </a:lvl2pPr>
            <a:lvl3pPr marL="0" indent="0">
              <a:defRPr sz="700"/>
            </a:lvl3pPr>
            <a:lvl4pPr marL="4563" indent="0">
              <a:defRPr sz="700"/>
            </a:lvl4pPr>
            <a:lvl5pPr marL="0" indent="0">
              <a:defRPr sz="700"/>
            </a:lvl5pPr>
            <a:lvl6pPr marL="4563" indent="0">
              <a:defRPr sz="700"/>
            </a:lvl6pPr>
            <a:lvl7pPr marL="0" indent="0">
              <a:defRPr sz="700"/>
            </a:lvl7pPr>
            <a:lvl8pPr marL="4563" indent="0">
              <a:defRPr sz="700"/>
            </a:lvl8pPr>
            <a:lvl9pPr marL="0" indent="0">
              <a:defRPr sz="700"/>
            </a:lvl9pPr>
          </a:lstStyle>
          <a:p>
            <a:endParaRPr lang="en-US" dirty="0"/>
          </a:p>
        </p:txBody>
      </p:sp>
      <p:sp>
        <p:nvSpPr>
          <p:cNvPr id="16" name="Slide Number Placeholder 4"/>
          <p:cNvSpPr>
            <a:spLocks noGrp="1"/>
          </p:cNvSpPr>
          <p:nvPr>
            <p:ph type="sldNum" sz="quarter" idx="5"/>
          </p:nvPr>
        </p:nvSpPr>
        <p:spPr bwMode="gray">
          <a:xfrm>
            <a:off x="196256" y="8960762"/>
            <a:ext cx="212603" cy="171814"/>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a:t>
            </a:fld>
            <a:endParaRPr lang="en-US"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6409836" y="190798"/>
            <a:ext cx="406691" cy="370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a:t>
            </a:fld>
            <a:endParaRPr lang="en-US" dirty="0"/>
          </a:p>
        </p:txBody>
      </p:sp>
    </p:spTree>
    <p:extLst>
      <p:ext uri="{BB962C8B-B14F-4D97-AF65-F5344CB8AC3E}">
        <p14:creationId xmlns:p14="http://schemas.microsoft.com/office/powerpoint/2010/main" val="236234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F3CE37-8989-471A-BC57-D3CAAD03839D}" type="slidenum">
              <a:rPr lang="en-US" smtClean="0"/>
              <a:pPr/>
              <a:t>11</a:t>
            </a:fld>
            <a:endParaRPr lang="en-US" dirty="0"/>
          </a:p>
        </p:txBody>
      </p:sp>
    </p:spTree>
    <p:extLst>
      <p:ext uri="{BB962C8B-B14F-4D97-AF65-F5344CB8AC3E}">
        <p14:creationId xmlns:p14="http://schemas.microsoft.com/office/powerpoint/2010/main" val="2333888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2</a:t>
            </a:fld>
            <a:endParaRPr lang="en-US" dirty="0"/>
          </a:p>
        </p:txBody>
      </p:sp>
    </p:spTree>
    <p:extLst>
      <p:ext uri="{BB962C8B-B14F-4D97-AF65-F5344CB8AC3E}">
        <p14:creationId xmlns:p14="http://schemas.microsoft.com/office/powerpoint/2010/main" val="453676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2</a:t>
            </a:fld>
            <a:endParaRPr lang="en-US" dirty="0"/>
          </a:p>
        </p:txBody>
      </p:sp>
    </p:spTree>
    <p:extLst>
      <p:ext uri="{BB962C8B-B14F-4D97-AF65-F5344CB8AC3E}">
        <p14:creationId xmlns:p14="http://schemas.microsoft.com/office/powerpoint/2010/main" val="2594569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3</a:t>
            </a:fld>
            <a:endParaRPr lang="en-US" dirty="0"/>
          </a:p>
        </p:txBody>
      </p:sp>
    </p:spTree>
    <p:extLst>
      <p:ext uri="{BB962C8B-B14F-4D97-AF65-F5344CB8AC3E}">
        <p14:creationId xmlns:p14="http://schemas.microsoft.com/office/powerpoint/2010/main" val="2582641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4</a:t>
            </a:fld>
            <a:endParaRPr lang="en-US" dirty="0"/>
          </a:p>
        </p:txBody>
      </p:sp>
    </p:spTree>
    <p:extLst>
      <p:ext uri="{BB962C8B-B14F-4D97-AF65-F5344CB8AC3E}">
        <p14:creationId xmlns:p14="http://schemas.microsoft.com/office/powerpoint/2010/main" val="2582641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5</a:t>
            </a:fld>
            <a:endParaRPr lang="en-US" dirty="0"/>
          </a:p>
        </p:txBody>
      </p:sp>
    </p:spTree>
    <p:extLst>
      <p:ext uri="{BB962C8B-B14F-4D97-AF65-F5344CB8AC3E}">
        <p14:creationId xmlns:p14="http://schemas.microsoft.com/office/powerpoint/2010/main" val="2582641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6</a:t>
            </a:fld>
            <a:endParaRPr lang="en-US" dirty="0"/>
          </a:p>
        </p:txBody>
      </p:sp>
    </p:spTree>
    <p:extLst>
      <p:ext uri="{BB962C8B-B14F-4D97-AF65-F5344CB8AC3E}">
        <p14:creationId xmlns:p14="http://schemas.microsoft.com/office/powerpoint/2010/main" val="25826419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7</a:t>
            </a:fld>
            <a:endParaRPr lang="en-US" dirty="0"/>
          </a:p>
        </p:txBody>
      </p:sp>
    </p:spTree>
    <p:extLst>
      <p:ext uri="{BB962C8B-B14F-4D97-AF65-F5344CB8AC3E}">
        <p14:creationId xmlns:p14="http://schemas.microsoft.com/office/powerpoint/2010/main" val="2582641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2F3CE37-8989-471A-BC57-D3CAAD03839D}" type="slidenum">
              <a:rPr lang="en-US" smtClean="0"/>
              <a:pPr/>
              <a:t>8</a:t>
            </a:fld>
            <a:endParaRPr lang="en-US" dirty="0"/>
          </a:p>
        </p:txBody>
      </p:sp>
    </p:spTree>
    <p:extLst>
      <p:ext uri="{BB962C8B-B14F-4D97-AF65-F5344CB8AC3E}">
        <p14:creationId xmlns:p14="http://schemas.microsoft.com/office/powerpoint/2010/main" val="37076501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3CE37-8989-471A-BC57-D3CAAD03839D}" type="slidenum">
              <a:rPr lang="en-US" smtClean="0"/>
              <a:pPr/>
              <a:t>10</a:t>
            </a:fld>
            <a:endParaRPr lang="en-US" dirty="0"/>
          </a:p>
        </p:txBody>
      </p:sp>
    </p:spTree>
    <p:extLst>
      <p:ext uri="{BB962C8B-B14F-4D97-AF65-F5344CB8AC3E}">
        <p14:creationId xmlns:p14="http://schemas.microsoft.com/office/powerpoint/2010/main" val="36591177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8.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1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xmlns="" id="{45A2FEF8-95DF-4328-850D-3F7840A62554}"/>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453184E-21E7-418F-A1EC-A49E8D1E2D3B}"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xmlns="" id="{13F626E8-4D4D-4477-BEF3-9372D1A5AD54}"/>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xmlns="" id="{C9A9C5E1-5EC5-4E10-A801-6F56DB71E6CD}"/>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3" name="Picture 12"/>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1026" name="Picture 2" descr="C:\Users\GIKGV\AppData\Local\Avecto\Clipboard\Advancing Digital_grün.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2"/>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6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A13F43FA-A88D-45CF-A998-B7633C7E9A49}" type="datetime1">
              <a:rPr lang="en-US" smtClean="0"/>
              <a:t>10/10/2019</a:t>
            </a:fld>
            <a:endParaRPr lang="en-US" dirty="0"/>
          </a:p>
        </p:txBody>
      </p:sp>
      <p:sp>
        <p:nvSpPr>
          <p:cNvPr id="5" name="Footer Placeholder 4"/>
          <p:cNvSpPr>
            <a:spLocks noGrp="1"/>
          </p:cNvSpPr>
          <p:nvPr>
            <p:ph type="ftr" sz="quarter" idx="11"/>
          </p:nvPr>
        </p:nvSpPr>
        <p:spPr bwMode="gray"/>
        <p:txBody>
          <a:bodyPr/>
          <a:lstStyle/>
          <a:p>
            <a:r>
              <a:rPr lang="en-US" dirty="0"/>
              <a:t>/// Advancing Digital /// Topic /// Dat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sp>
        <p:nvSpPr>
          <p:cNvPr id="11" name="Text Placeholder 10 (left)"/>
          <p:cNvSpPr>
            <a:spLocks noGrp="1"/>
          </p:cNvSpPr>
          <p:nvPr>
            <p:ph type="body" sz="quarter" idx="14"/>
          </p:nvPr>
        </p:nvSpPr>
        <p:spPr bwMode="gray">
          <a:xfrm>
            <a:off x="981820" y="3892749"/>
            <a:ext cx="522000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59719" y="3892749"/>
            <a:ext cx="522000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820" y="1732750"/>
            <a:ext cx="522000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59719" y="1732750"/>
            <a:ext cx="522000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83990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6DB8775-8226-4E8C-BBBC-5A871E3E17A7}" type="datetime1">
              <a:rPr lang="en-US" smtClean="0"/>
              <a:t>10/10/2019</a:t>
            </a:fld>
            <a:endParaRPr lang="en-US" dirty="0"/>
          </a:p>
        </p:txBody>
      </p:sp>
      <p:sp>
        <p:nvSpPr>
          <p:cNvPr id="5" name="Footer Placeholder 4"/>
          <p:cNvSpPr>
            <a:spLocks noGrp="1"/>
          </p:cNvSpPr>
          <p:nvPr>
            <p:ph type="ftr" sz="quarter" idx="11"/>
          </p:nvPr>
        </p:nvSpPr>
        <p:spPr bwMode="gray"/>
        <p:txBody>
          <a:bodyPr/>
          <a:lstStyle/>
          <a:p>
            <a:r>
              <a:rPr lang="en-US" dirty="0"/>
              <a:t>/// Advancing Digital /// Topic /// Dat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28923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1052513"/>
            <a:ext cx="10800000"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8096B027-38B9-43F7-A592-83EA0A775820}" type="datetime1">
              <a:rPr lang="en-US" smtClean="0"/>
              <a:t>10/10/2019</a:t>
            </a:fld>
            <a:endParaRPr lang="en-US" dirty="0"/>
          </a:p>
        </p:txBody>
      </p:sp>
      <p:sp>
        <p:nvSpPr>
          <p:cNvPr id="4" name="Footer Placeholder 3"/>
          <p:cNvSpPr>
            <a:spLocks noGrp="1"/>
          </p:cNvSpPr>
          <p:nvPr>
            <p:ph type="ftr" sz="quarter" idx="11"/>
          </p:nvPr>
        </p:nvSpPr>
        <p:spPr bwMode="gray"/>
        <p:txBody>
          <a:bodyPr/>
          <a:lstStyle/>
          <a:p>
            <a:r>
              <a:rPr lang="en-US" dirty="0"/>
              <a:t>/// Advancing Digital /// Topic /// Date</a:t>
            </a: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197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74F30451-A35E-4E06-ABE9-57892F294C45}" type="datetime1">
              <a:rPr lang="en-US" smtClean="0"/>
              <a:t>10/10/2019</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55934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A3BDA798-F8E0-4709-A972-C462B33FAF2F}"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9" name="Picture 18"/>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20" name="Picture 2" descr="C:\Users\GIKGV\AppData\Local\Avecto\Clipboard\Advancing Digital_grün.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2"/>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1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1"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8FB917D-8BDA-4646-85F0-B3EB7EC9AA4C}"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9" name="Picture 18"/>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20" name="Picture 2" descr="C:\Users\GIKGV\AppData\Local\Avecto\Clipboard\Advancing Digital_pink.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3"/>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277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white">
          <a:xfrm>
            <a:off x="708820" y="1732757"/>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3C03279-9369-4B60-857C-CA23090BD5EE}"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334"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9" name="Picture 18"/>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22" name="Picture 2" descr="C:\Users\GIKGV\AppData\Local\Microsoft\Windows\Temporary Internet Files\Content.Outlook\57CHKXEZ\Advancing Digital_weiß (2).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3"/>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05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F648FBCA-86AC-4D4F-A55D-0F44DD8FE97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846" cy="2994660"/>
          </a:xfrm>
          <a:prstGeom prst="rect">
            <a:avLst/>
          </a:prstGeom>
        </p:spPr>
      </p:pic>
      <p:sp>
        <p:nvSpPr>
          <p:cNvPr id="19" name="Text Placeholder 18">
            <a:extLst>
              <a:ext uri="{FF2B5EF4-FFF2-40B4-BE49-F238E27FC236}">
                <a16:creationId xmlns:a16="http://schemas.microsoft.com/office/drawing/2014/main" xmlns="" id="{805F4D0A-2A22-8D4F-B189-976018CFF00B}"/>
              </a:ext>
            </a:extLst>
          </p:cNvPr>
          <p:cNvSpPr>
            <a:spLocks noGrp="1"/>
          </p:cNvSpPr>
          <p:nvPr>
            <p:ph type="body" sz="quarter" idx="11"/>
          </p:nvPr>
        </p:nvSpPr>
        <p:spPr>
          <a:xfrm>
            <a:off x="2642844" y="3557588"/>
            <a:ext cx="6996789" cy="1828800"/>
          </a:xfrm>
        </p:spPr>
        <p:txBody>
          <a:bodyPr/>
          <a:lstStyle>
            <a:lvl1pPr marL="0" indent="0" algn="ctr">
              <a:buNone/>
              <a:defRPr>
                <a:solidFill>
                  <a:schemeClr val="bg1"/>
                </a:solidFill>
                <a:latin typeface="Arial" panose="020B0604020202020204" pitchFamily="34" charset="0"/>
                <a:cs typeface="Arial" panose="020B0604020202020204" pitchFamily="34" charset="0"/>
              </a:defRPr>
            </a:lvl1pPr>
            <a:lvl2pPr marL="457200" indent="0" algn="ctr">
              <a:buNone/>
              <a:defRPr>
                <a:solidFill>
                  <a:schemeClr val="bg1"/>
                </a:solidFill>
                <a:latin typeface="Arial" panose="020B0604020202020204" pitchFamily="34" charset="0"/>
                <a:cs typeface="Arial" panose="020B0604020202020204" pitchFamily="34" charset="0"/>
              </a:defRPr>
            </a:lvl2pPr>
            <a:lvl3pPr marL="914400" indent="0" algn="ctr">
              <a:buNone/>
              <a:defRPr>
                <a:solidFill>
                  <a:schemeClr val="bg1"/>
                </a:solidFill>
                <a:latin typeface="Arial" panose="020B0604020202020204" pitchFamily="34" charset="0"/>
                <a:cs typeface="Arial" panose="020B0604020202020204" pitchFamily="34" charset="0"/>
              </a:defRPr>
            </a:lvl3pPr>
            <a:lvl4pPr marL="1371600" indent="0" algn="ctr">
              <a:buNone/>
              <a:defRPr>
                <a:solidFill>
                  <a:schemeClr val="bg1"/>
                </a:solidFill>
                <a:latin typeface="Arial" panose="020B0604020202020204" pitchFamily="34" charset="0"/>
                <a:cs typeface="Arial" panose="020B0604020202020204" pitchFamily="34" charset="0"/>
              </a:defRPr>
            </a:lvl4pPr>
            <a:lvl5pPr marL="1828800" indent="0" algn="ctr">
              <a:buNone/>
              <a:defRPr>
                <a:solidFill>
                  <a:schemeClr val="bg1"/>
                </a:solidFill>
                <a:latin typeface="Arial" panose="020B0604020202020204" pitchFamily="34" charset="0"/>
                <a:cs typeface="Arial" panose="020B0604020202020204" pitchFamily="34" charset="0"/>
              </a:defRPr>
            </a:lvl5pPr>
          </a:lstStyle>
          <a:p>
            <a:pPr lvl="0"/>
            <a:r>
              <a:rPr lang="en-US" dirty="0"/>
              <a:t>Edit Master text styles</a:t>
            </a:r>
          </a:p>
        </p:txBody>
      </p:sp>
    </p:spTree>
    <p:extLst>
      <p:ext uri="{BB962C8B-B14F-4D97-AF65-F5344CB8AC3E}">
        <p14:creationId xmlns:p14="http://schemas.microsoft.com/office/powerpoint/2010/main" val="17478102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ext Slides (customized dark)">
    <p:spTree>
      <p:nvGrpSpPr>
        <p:cNvPr id="1" name=""/>
        <p:cNvGrpSpPr/>
        <p:nvPr/>
      </p:nvGrpSpPr>
      <p:grpSpPr>
        <a:xfrm>
          <a:off x="0" y="0"/>
          <a:ext cx="0" cy="0"/>
          <a:chOff x="0" y="0"/>
          <a:chExt cx="0" cy="0"/>
        </a:xfrm>
      </p:grpSpPr>
      <p:sp>
        <p:nvSpPr>
          <p:cNvPr id="13" name="Rectangle 12"/>
          <p:cNvSpPr/>
          <p:nvPr userDrawn="1"/>
        </p:nvSpPr>
        <p:spPr bwMode="gray">
          <a:xfrm>
            <a:off x="-13588" y="4"/>
            <a:ext cx="12204001" cy="6865883"/>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rtlCol="0" anchor="ctr"/>
          <a:lstStyle/>
          <a:p>
            <a:pPr algn="ctr" defTabSz="914218"/>
            <a:endParaRPr lang="en-US" sz="1900">
              <a:solidFill>
                <a:srgbClr val="FFFFFF"/>
              </a:solidFill>
            </a:endParaRPr>
          </a:p>
        </p:txBody>
      </p:sp>
      <p:sp>
        <p:nvSpPr>
          <p:cNvPr id="3" name="Datumsplatzhalter 2"/>
          <p:cNvSpPr>
            <a:spLocks noGrp="1"/>
          </p:cNvSpPr>
          <p:nvPr>
            <p:ph type="dt" sz="half" idx="10"/>
          </p:nvPr>
        </p:nvSpPr>
        <p:spPr/>
        <p:txBody>
          <a:bodyPr/>
          <a:lstStyle/>
          <a:p>
            <a:fld id="{EB23D6A6-5526-425C-ADB3-34FEF49C10AD}" type="datetime1">
              <a:rPr lang="en-US" smtClean="0"/>
              <a:pPr/>
              <a:t>10/10/2019</a:t>
            </a:fld>
            <a:endParaRPr lang="en-US" dirty="0"/>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en-US">
                <a:solidFill>
                  <a:srgbClr val="FFFFFF"/>
                </a:solidFill>
              </a:rPr>
              <a:t>///  Engaging and Enabling Innovation @ Bayer  ///  February 2019</a:t>
            </a:r>
            <a:endParaRPr lang="en-US" dirty="0">
              <a:solidFill>
                <a:srgbClr val="FFFFFF"/>
              </a:solidFill>
            </a:endParaRPr>
          </a:p>
        </p:txBody>
      </p:sp>
      <p:sp>
        <p:nvSpPr>
          <p:cNvPr id="5" name="Foliennummernplatzhalter 4"/>
          <p:cNvSpPr>
            <a:spLocks noGrp="1"/>
          </p:cNvSpPr>
          <p:nvPr>
            <p:ph type="sldNum" sz="quarter" idx="12"/>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9" name="Subtitle 2"/>
          <p:cNvSpPr>
            <a:spLocks noGrp="1"/>
          </p:cNvSpPr>
          <p:nvPr>
            <p:ph type="subTitle" idx="13"/>
          </p:nvPr>
        </p:nvSpPr>
        <p:spPr bwMode="gray">
          <a:xfrm>
            <a:off x="1647971" y="1138299"/>
            <a:ext cx="10132312" cy="252000"/>
          </a:xfrm>
        </p:spPr>
        <p:txBody>
          <a:bodyPr anchor="t"/>
          <a:lstStyle>
            <a:lvl1pPr marL="0" indent="0" algn="l">
              <a:buNone/>
              <a:defRPr sz="1900">
                <a:solidFill>
                  <a:schemeClr val="bg1"/>
                </a:solidFill>
              </a:defRPr>
            </a:lvl1pPr>
            <a:lvl2pPr marL="0" indent="0" algn="l">
              <a:buNone/>
              <a:defRPr sz="1900">
                <a:solidFill>
                  <a:schemeClr val="accent1"/>
                </a:solidFill>
              </a:defRPr>
            </a:lvl2pPr>
            <a:lvl3pPr marL="0" indent="0" algn="l">
              <a:buNone/>
              <a:defRPr sz="1900">
                <a:solidFill>
                  <a:schemeClr val="accent1"/>
                </a:solidFill>
              </a:defRPr>
            </a:lvl3pPr>
            <a:lvl4pPr marL="0" indent="0" algn="l">
              <a:buNone/>
              <a:defRPr sz="1900">
                <a:solidFill>
                  <a:schemeClr val="accent1"/>
                </a:solidFill>
              </a:defRPr>
            </a:lvl4pPr>
            <a:lvl5pPr marL="0" indent="0" algn="l">
              <a:buNone/>
              <a:defRPr sz="1900">
                <a:solidFill>
                  <a:schemeClr val="accent1"/>
                </a:solidFill>
              </a:defRPr>
            </a:lvl5pPr>
            <a:lvl6pPr marL="0" indent="0" algn="l">
              <a:buNone/>
              <a:defRPr sz="1900">
                <a:solidFill>
                  <a:schemeClr val="accent1"/>
                </a:solidFill>
              </a:defRPr>
            </a:lvl6pPr>
            <a:lvl7pPr marL="0" indent="0" algn="l">
              <a:buNone/>
              <a:defRPr sz="1900">
                <a:solidFill>
                  <a:schemeClr val="accent1"/>
                </a:solidFill>
              </a:defRPr>
            </a:lvl7pPr>
            <a:lvl8pPr marL="0" indent="0" algn="l">
              <a:buNone/>
              <a:defRPr sz="1900">
                <a:solidFill>
                  <a:schemeClr val="accent1"/>
                </a:solidFill>
              </a:defRPr>
            </a:lvl8pPr>
            <a:lvl9pPr marL="0" indent="0" algn="l">
              <a:buNone/>
              <a:defRPr sz="1900">
                <a:solidFill>
                  <a:schemeClr val="accent1"/>
                </a:solidFill>
              </a:defRPr>
            </a:lvl9pPr>
          </a:lstStyle>
          <a:p>
            <a:pPr lvl="0"/>
            <a:r>
              <a:rPr lang="de-DE"/>
              <a:t>Formatvorlage des Untertitelmasters durch Klicken bearbeiten</a:t>
            </a:r>
            <a:endParaRPr lang="en-US" dirty="0"/>
          </a:p>
        </p:txBody>
      </p:sp>
      <p:sp>
        <p:nvSpPr>
          <p:cNvPr id="10" name="Title 1"/>
          <p:cNvSpPr>
            <a:spLocks noGrp="1"/>
          </p:cNvSpPr>
          <p:nvPr>
            <p:ph type="title"/>
          </p:nvPr>
        </p:nvSpPr>
        <p:spPr bwMode="gray">
          <a:xfrm>
            <a:off x="1646238" y="181939"/>
            <a:ext cx="10134043" cy="864000"/>
          </a:xfrm>
        </p:spPr>
        <p:txBody>
          <a:bodyPr/>
          <a:lstStyle>
            <a:lvl1pPr>
              <a:defRPr>
                <a:solidFill>
                  <a:schemeClr val="bg1"/>
                </a:solidFill>
              </a:defRPr>
            </a:lvl1p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38" y="1732751"/>
            <a:ext cx="10134043" cy="475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12" name="Picture 2" descr="\\nas-mainz\Projekte_vertraulich\Bayer\17-0612_Fischer_CI-Redesign\vom Kunden\Bayer_Cross_2017_REV-White_on-Screen_RGB_170630.wmf">
            <a:extLst>
              <a:ext uri="{FF2B5EF4-FFF2-40B4-BE49-F238E27FC236}">
                <a16:creationId xmlns:a16="http://schemas.microsoft.com/office/drawing/2014/main" xmlns="" id="{116CC821-8EF5-46C9-B923-CF77182D32A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193463" y="617158"/>
            <a:ext cx="399641" cy="399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839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ext_2">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35" name="Gruppieren 34"/>
          <p:cNvGrpSpPr/>
          <p:nvPr userDrawn="1"/>
        </p:nvGrpSpPr>
        <p:grpSpPr>
          <a:xfrm>
            <a:off x="-14839" y="2531937"/>
            <a:ext cx="1333184" cy="2800848"/>
            <a:chOff x="-14839" y="2531937"/>
            <a:chExt cx="1333184" cy="2800848"/>
          </a:xfrm>
          <a:solidFill>
            <a:srgbClr val="5B9639"/>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4" name="Rechteck 46"/>
          <p:cNvSpPr/>
          <p:nvPr userDrawn="1"/>
        </p:nvSpPr>
        <p:spPr bwMode="gray">
          <a:xfrm>
            <a:off x="0" y="-10049"/>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37" y="181938"/>
            <a:ext cx="10134043" cy="864000"/>
          </a:xfrm>
        </p:spPr>
        <p:txBody>
          <a:body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37" y="1732751"/>
            <a:ext cx="10134044"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61937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2CB09DE6-6C5C-466A-98EE-CF45D40F0870}"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xmlns="" id="{8C0614FA-2289-4D50-861D-D1CE2042502D}"/>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xmlns="" id="{2CD53346-3B88-4ECD-BC3C-B158CECCD4F5}"/>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xmlns="" id="{2FE56050-78D4-446C-87C6-B9C42DDC4070}"/>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5" name="Picture 14"/>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2050" name="Picture 2" descr="C:\Users\GIKGV\AppData\Local\Avecto\Clipboard\Advancing Digital_pink.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3"/>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036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only (color/white)">
    <p:spTree>
      <p:nvGrpSpPr>
        <p:cNvPr id="1" name=""/>
        <p:cNvGrpSpPr/>
        <p:nvPr/>
      </p:nvGrpSpPr>
      <p:grpSpPr>
        <a:xfrm>
          <a:off x="0" y="0"/>
          <a:ext cx="0" cy="0"/>
          <a:chOff x="0" y="0"/>
          <a:chExt cx="0" cy="0"/>
        </a:xfrm>
      </p:grpSpPr>
      <p:sp>
        <p:nvSpPr>
          <p:cNvPr id="20" name="Rechteck 19"/>
          <p:cNvSpPr/>
          <p:nvPr userDrawn="1"/>
        </p:nvSpPr>
        <p:spPr bwMode="gray">
          <a:xfrm>
            <a:off x="-1" y="0"/>
            <a:ext cx="12286196" cy="6858000"/>
          </a:xfrm>
          <a:prstGeom prst="rect">
            <a:avLst/>
          </a:prstGeom>
          <a:gradFill>
            <a:gsLst>
              <a:gs pos="0">
                <a:srgbClr val="00617F"/>
              </a:gs>
              <a:gs pos="100000">
                <a:srgbClr val="10384F"/>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e Placeholder 3"/>
          <p:cNvSpPr>
            <a:spLocks noGrp="1"/>
          </p:cNvSpPr>
          <p:nvPr>
            <p:ph type="dt" sz="half" idx="10"/>
          </p:nvPr>
        </p:nvSpPr>
        <p:spPr bwMode="gray"/>
        <p:txBody>
          <a:bodyPr/>
          <a:lstStyle/>
          <a:p>
            <a:fld id="{CB52C0BA-A793-4EBC-B1E5-4B921E5FE307}" type="datetime1">
              <a:rPr lang="en-US" smtClean="0"/>
              <a:t>10/10/2019</a:t>
            </a:fld>
            <a:endParaRPr lang="en-US" dirty="0"/>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 DAAA - Data as an Asset /// Program Update /// September 2019</a:t>
            </a:r>
            <a:endParaRPr lang="en-US" dirty="0">
              <a:solidFill>
                <a:srgbClr val="FFFFFF"/>
              </a:solidFill>
            </a:endParaRPr>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grpSp>
        <p:nvGrpSpPr>
          <p:cNvPr id="9" name="Group 219"/>
          <p:cNvGrpSpPr>
            <a:grpSpLocks noChangeAspect="1"/>
          </p:cNvGrpSpPr>
          <p:nvPr userDrawn="1"/>
        </p:nvGrpSpPr>
        <p:grpSpPr bwMode="gray">
          <a:xfrm>
            <a:off x="197701" y="617323"/>
            <a:ext cx="395248" cy="396000"/>
            <a:chOff x="6936" y="180"/>
            <a:chExt cx="526" cy="527"/>
          </a:xfrm>
          <a:solidFill>
            <a:schemeClr val="bg1"/>
          </a:solidFill>
        </p:grpSpPr>
        <p:sp>
          <p:nvSpPr>
            <p:cNvPr id="10"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1"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2"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3"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4"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5"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6"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7"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8"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sp>
          <p:nvSpPr>
            <p:cNvPr id="19"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endParaRPr>
            </a:p>
          </p:txBody>
        </p:sp>
      </p:grpSp>
      <p:sp>
        <p:nvSpPr>
          <p:cNvPr id="75" name="Title 1"/>
          <p:cNvSpPr>
            <a:spLocks noGrp="1"/>
          </p:cNvSpPr>
          <p:nvPr>
            <p:ph type="title"/>
          </p:nvPr>
        </p:nvSpPr>
        <p:spPr bwMode="gray">
          <a:xfrm>
            <a:off x="981822" y="181938"/>
            <a:ext cx="9028954" cy="864000"/>
          </a:xfrm>
        </p:spPr>
        <p:txBody>
          <a:bodyPr/>
          <a:lstStyle>
            <a:lvl1pPr algn="l" defTabSz="914397" rtl="0" eaLnBrk="1" latinLnBrk="0" hangingPunct="1">
              <a:spcBef>
                <a:spcPct val="0"/>
              </a:spcBef>
              <a:buNone/>
              <a:defRPr lang="en-US" sz="2800" b="0" kern="1200" dirty="0">
                <a:solidFill>
                  <a:schemeClr val="bg1"/>
                </a:solidFill>
                <a:latin typeface="+mj-lt"/>
                <a:ea typeface="+mj-ea"/>
                <a:cs typeface="+mj-cs"/>
              </a:defRPr>
            </a:lvl1pPr>
          </a:lstStyle>
          <a:p>
            <a:r>
              <a:rPr lang="de-DE" dirty="0"/>
              <a:t>Titelmasterformat durch Klicken bearbeiten</a:t>
            </a:r>
            <a:endParaRPr lang="en-US" dirty="0"/>
          </a:p>
        </p:txBody>
      </p:sp>
      <p:cxnSp>
        <p:nvCxnSpPr>
          <p:cNvPr id="76" name="Gerade Verbindung 75"/>
          <p:cNvCxnSpPr/>
          <p:nvPr userDrawn="1"/>
        </p:nvCxnSpPr>
        <p:spPr bwMode="gray">
          <a:xfrm flipH="1">
            <a:off x="5486401" y="1132464"/>
            <a:ext cx="1438274" cy="5935086"/>
          </a:xfrm>
          <a:prstGeom prst="line">
            <a:avLst/>
          </a:prstGeom>
          <a:ln w="12700">
            <a:solidFill>
              <a:schemeClr val="bg1">
                <a:alpha val="40000"/>
              </a:schemeClr>
            </a:solidFill>
          </a:ln>
        </p:spPr>
        <p:style>
          <a:lnRef idx="1">
            <a:schemeClr val="accent1"/>
          </a:lnRef>
          <a:fillRef idx="0">
            <a:schemeClr val="accent1"/>
          </a:fillRef>
          <a:effectRef idx="0">
            <a:schemeClr val="accent1"/>
          </a:effectRef>
          <a:fontRef idx="minor">
            <a:schemeClr val="tx1"/>
          </a:fontRef>
        </p:style>
      </p:cxnSp>
      <p:pic>
        <p:nvPicPr>
          <p:cNvPr id="10957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86937"/>
          <a:stretch/>
        </p:blipFill>
        <p:spPr bwMode="auto">
          <a:xfrm>
            <a:off x="6613526" y="-154205"/>
            <a:ext cx="622300" cy="336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2565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_1">
    <p:bg>
      <p:bgPr>
        <a:solidFill>
          <a:schemeClr val="accent2"/>
        </a:solidFill>
        <a:effectLst/>
      </p:bgPr>
    </p:bg>
    <p:spTree>
      <p:nvGrpSpPr>
        <p:cNvPr id="1" name=""/>
        <p:cNvGrpSpPr/>
        <p:nvPr/>
      </p:nvGrpSpPr>
      <p:grpSpPr>
        <a:xfrm>
          <a:off x="0" y="0"/>
          <a:ext cx="0" cy="0"/>
          <a:chOff x="0" y="0"/>
          <a:chExt cx="0" cy="0"/>
        </a:xfrm>
      </p:grpSpPr>
      <p:grpSp>
        <p:nvGrpSpPr>
          <p:cNvPr id="103" name="Gruppieren 102"/>
          <p:cNvGrpSpPr/>
          <p:nvPr userDrawn="1"/>
        </p:nvGrpSpPr>
        <p:grpSpPr>
          <a:xfrm>
            <a:off x="-6448" y="2402525"/>
            <a:ext cx="5771162" cy="4458649"/>
            <a:chOff x="14692313" y="-1844675"/>
            <a:chExt cx="7050088" cy="5446713"/>
          </a:xfrm>
        </p:grpSpPr>
        <p:sp>
          <p:nvSpPr>
            <p:cNvPr id="104" name="Freeform 16"/>
            <p:cNvSpPr>
              <a:spLocks/>
            </p:cNvSpPr>
            <p:nvPr userDrawn="1"/>
          </p:nvSpPr>
          <p:spPr bwMode="auto">
            <a:xfrm>
              <a:off x="18045113" y="-461963"/>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1"/>
                    <a:pt x="100" y="0"/>
                    <a:pt x="0" y="0"/>
                  </a:cubicBezTo>
                  <a:cubicBezTo>
                    <a:pt x="0" y="23"/>
                    <a:pt x="0" y="23"/>
                    <a:pt x="0" y="23"/>
                  </a:cubicBezTo>
                  <a:cubicBezTo>
                    <a:pt x="87" y="23"/>
                    <a:pt x="158" y="94"/>
                    <a:pt x="158" y="181"/>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5" name="Rectangle 17"/>
            <p:cNvSpPr>
              <a:spLocks noChangeArrowheads="1"/>
            </p:cNvSpPr>
            <p:nvPr userDrawn="1"/>
          </p:nvSpPr>
          <p:spPr bwMode="auto">
            <a:xfrm>
              <a:off x="18007013" y="-1169988"/>
              <a:ext cx="73025" cy="388938"/>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6" name="Freeform 18"/>
            <p:cNvSpPr>
              <a:spLocks/>
            </p:cNvSpPr>
            <p:nvPr userDrawn="1"/>
          </p:nvSpPr>
          <p:spPr bwMode="auto">
            <a:xfrm>
              <a:off x="17110075" y="-822325"/>
              <a:ext cx="330200" cy="328613"/>
            </a:xfrm>
            <a:custGeom>
              <a:avLst/>
              <a:gdLst>
                <a:gd name="T0" fmla="*/ 208 w 208"/>
                <a:gd name="T1" fmla="*/ 175 h 207"/>
                <a:gd name="T2" fmla="*/ 32 w 208"/>
                <a:gd name="T3" fmla="*/ 0 h 207"/>
                <a:gd name="T4" fmla="*/ 0 w 208"/>
                <a:gd name="T5" fmla="*/ 34 h 207"/>
                <a:gd name="T6" fmla="*/ 174 w 208"/>
                <a:gd name="T7" fmla="*/ 207 h 207"/>
                <a:gd name="T8" fmla="*/ 208 w 208"/>
                <a:gd name="T9" fmla="*/ 175 h 207"/>
              </a:gdLst>
              <a:ahLst/>
              <a:cxnLst>
                <a:cxn ang="0">
                  <a:pos x="T0" y="T1"/>
                </a:cxn>
                <a:cxn ang="0">
                  <a:pos x="T2" y="T3"/>
                </a:cxn>
                <a:cxn ang="0">
                  <a:pos x="T4" y="T5"/>
                </a:cxn>
                <a:cxn ang="0">
                  <a:pos x="T6" y="T7"/>
                </a:cxn>
                <a:cxn ang="0">
                  <a:pos x="T8" y="T9"/>
                </a:cxn>
              </a:cxnLst>
              <a:rect l="0" t="0" r="r" b="b"/>
              <a:pathLst>
                <a:path w="208" h="207">
                  <a:moveTo>
                    <a:pt x="208" y="175"/>
                  </a:moveTo>
                  <a:lnTo>
                    <a:pt x="32" y="0"/>
                  </a:lnTo>
                  <a:lnTo>
                    <a:pt x="0" y="34"/>
                  </a:lnTo>
                  <a:lnTo>
                    <a:pt x="174" y="207"/>
                  </a:lnTo>
                  <a:lnTo>
                    <a:pt x="208" y="17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7" name="Rectangle 19"/>
            <p:cNvSpPr>
              <a:spLocks noChangeArrowheads="1"/>
            </p:cNvSpPr>
            <p:nvPr userDrawn="1"/>
          </p:nvSpPr>
          <p:spPr bwMode="auto">
            <a:xfrm>
              <a:off x="16759238" y="76200"/>
              <a:ext cx="392113"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8" name="Freeform 20"/>
            <p:cNvSpPr>
              <a:spLocks/>
            </p:cNvSpPr>
            <p:nvPr userDrawn="1"/>
          </p:nvSpPr>
          <p:spPr bwMode="auto">
            <a:xfrm>
              <a:off x="17110075" y="719137"/>
              <a:ext cx="330200" cy="325438"/>
            </a:xfrm>
            <a:custGeom>
              <a:avLst/>
              <a:gdLst>
                <a:gd name="T0" fmla="*/ 0 w 208"/>
                <a:gd name="T1" fmla="*/ 173 h 205"/>
                <a:gd name="T2" fmla="*/ 32 w 208"/>
                <a:gd name="T3" fmla="*/ 205 h 205"/>
                <a:gd name="T4" fmla="*/ 208 w 208"/>
                <a:gd name="T5" fmla="*/ 32 h 205"/>
                <a:gd name="T6" fmla="*/ 174 w 208"/>
                <a:gd name="T7" fmla="*/ 0 h 205"/>
                <a:gd name="T8" fmla="*/ 0 w 208"/>
                <a:gd name="T9" fmla="*/ 173 h 205"/>
              </a:gdLst>
              <a:ahLst/>
              <a:cxnLst>
                <a:cxn ang="0">
                  <a:pos x="T0" y="T1"/>
                </a:cxn>
                <a:cxn ang="0">
                  <a:pos x="T2" y="T3"/>
                </a:cxn>
                <a:cxn ang="0">
                  <a:pos x="T4" y="T5"/>
                </a:cxn>
                <a:cxn ang="0">
                  <a:pos x="T6" y="T7"/>
                </a:cxn>
                <a:cxn ang="0">
                  <a:pos x="T8" y="T9"/>
                </a:cxn>
              </a:cxnLst>
              <a:rect l="0" t="0" r="r" b="b"/>
              <a:pathLst>
                <a:path w="208" h="205">
                  <a:moveTo>
                    <a:pt x="0" y="173"/>
                  </a:moveTo>
                  <a:lnTo>
                    <a:pt x="32" y="205"/>
                  </a:lnTo>
                  <a:lnTo>
                    <a:pt x="208" y="32"/>
                  </a:lnTo>
                  <a:lnTo>
                    <a:pt x="174" y="0"/>
                  </a:lnTo>
                  <a:lnTo>
                    <a:pt x="0" y="173"/>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9" name="Freeform 21"/>
            <p:cNvSpPr>
              <a:spLocks/>
            </p:cNvSpPr>
            <p:nvPr userDrawn="1"/>
          </p:nvSpPr>
          <p:spPr bwMode="auto">
            <a:xfrm>
              <a:off x="18649950" y="-822325"/>
              <a:ext cx="328613" cy="328613"/>
            </a:xfrm>
            <a:custGeom>
              <a:avLst/>
              <a:gdLst>
                <a:gd name="T0" fmla="*/ 207 w 207"/>
                <a:gd name="T1" fmla="*/ 34 h 207"/>
                <a:gd name="T2" fmla="*/ 173 w 207"/>
                <a:gd name="T3" fmla="*/ 0 h 207"/>
                <a:gd name="T4" fmla="*/ 0 w 207"/>
                <a:gd name="T5" fmla="*/ 175 h 207"/>
                <a:gd name="T6" fmla="*/ 32 w 207"/>
                <a:gd name="T7" fmla="*/ 207 h 207"/>
                <a:gd name="T8" fmla="*/ 207 w 207"/>
                <a:gd name="T9" fmla="*/ 34 h 207"/>
              </a:gdLst>
              <a:ahLst/>
              <a:cxnLst>
                <a:cxn ang="0">
                  <a:pos x="T0" y="T1"/>
                </a:cxn>
                <a:cxn ang="0">
                  <a:pos x="T2" y="T3"/>
                </a:cxn>
                <a:cxn ang="0">
                  <a:pos x="T4" y="T5"/>
                </a:cxn>
                <a:cxn ang="0">
                  <a:pos x="T6" y="T7"/>
                </a:cxn>
                <a:cxn ang="0">
                  <a:pos x="T8" y="T9"/>
                </a:cxn>
              </a:cxnLst>
              <a:rect l="0" t="0" r="r" b="b"/>
              <a:pathLst>
                <a:path w="207" h="207">
                  <a:moveTo>
                    <a:pt x="207" y="34"/>
                  </a:moveTo>
                  <a:lnTo>
                    <a:pt x="173" y="0"/>
                  </a:lnTo>
                  <a:lnTo>
                    <a:pt x="0" y="175"/>
                  </a:lnTo>
                  <a:lnTo>
                    <a:pt x="32" y="207"/>
                  </a:lnTo>
                  <a:lnTo>
                    <a:pt x="207" y="34"/>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0" name="Rectangle 22"/>
            <p:cNvSpPr>
              <a:spLocks noChangeArrowheads="1"/>
            </p:cNvSpPr>
            <p:nvPr userDrawn="1"/>
          </p:nvSpPr>
          <p:spPr bwMode="auto">
            <a:xfrm>
              <a:off x="18937288" y="76200"/>
              <a:ext cx="388938"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1" name="Freeform 23"/>
            <p:cNvSpPr>
              <a:spLocks/>
            </p:cNvSpPr>
            <p:nvPr userDrawn="1"/>
          </p:nvSpPr>
          <p:spPr bwMode="auto">
            <a:xfrm>
              <a:off x="18649950" y="719137"/>
              <a:ext cx="328613" cy="325438"/>
            </a:xfrm>
            <a:custGeom>
              <a:avLst/>
              <a:gdLst>
                <a:gd name="T0" fmla="*/ 0 w 207"/>
                <a:gd name="T1" fmla="*/ 32 h 205"/>
                <a:gd name="T2" fmla="*/ 173 w 207"/>
                <a:gd name="T3" fmla="*/ 205 h 205"/>
                <a:gd name="T4" fmla="*/ 207 w 207"/>
                <a:gd name="T5" fmla="*/ 173 h 205"/>
                <a:gd name="T6" fmla="*/ 32 w 207"/>
                <a:gd name="T7" fmla="*/ 0 h 205"/>
                <a:gd name="T8" fmla="*/ 0 w 207"/>
                <a:gd name="T9" fmla="*/ 32 h 205"/>
              </a:gdLst>
              <a:ahLst/>
              <a:cxnLst>
                <a:cxn ang="0">
                  <a:pos x="T0" y="T1"/>
                </a:cxn>
                <a:cxn ang="0">
                  <a:pos x="T2" y="T3"/>
                </a:cxn>
                <a:cxn ang="0">
                  <a:pos x="T4" y="T5"/>
                </a:cxn>
                <a:cxn ang="0">
                  <a:pos x="T6" y="T7"/>
                </a:cxn>
                <a:cxn ang="0">
                  <a:pos x="T8" y="T9"/>
                </a:cxn>
              </a:cxnLst>
              <a:rect l="0" t="0" r="r" b="b"/>
              <a:pathLst>
                <a:path w="207" h="205">
                  <a:moveTo>
                    <a:pt x="0" y="32"/>
                  </a:moveTo>
                  <a:lnTo>
                    <a:pt x="173" y="205"/>
                  </a:lnTo>
                  <a:lnTo>
                    <a:pt x="207" y="173"/>
                  </a:lnTo>
                  <a:lnTo>
                    <a:pt x="32" y="0"/>
                  </a:lnTo>
                  <a:lnTo>
                    <a:pt x="0" y="32"/>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2" name="Freeform 24"/>
            <p:cNvSpPr>
              <a:spLocks noEditPoints="1"/>
            </p:cNvSpPr>
            <p:nvPr userDrawn="1"/>
          </p:nvSpPr>
          <p:spPr bwMode="auto">
            <a:xfrm>
              <a:off x="17249775" y="-679450"/>
              <a:ext cx="1585913" cy="1955800"/>
            </a:xfrm>
            <a:custGeom>
              <a:avLst/>
              <a:gdLst>
                <a:gd name="T0" fmla="*/ 383 w 501"/>
                <a:gd name="T1" fmla="*/ 588 h 618"/>
                <a:gd name="T2" fmla="*/ 440 w 501"/>
                <a:gd name="T3" fmla="*/ 415 h 618"/>
                <a:gd name="T4" fmla="*/ 501 w 501"/>
                <a:gd name="T5" fmla="*/ 250 h 618"/>
                <a:gd name="T6" fmla="*/ 251 w 501"/>
                <a:gd name="T7" fmla="*/ 0 h 618"/>
                <a:gd name="T8" fmla="*/ 0 w 501"/>
                <a:gd name="T9" fmla="*/ 250 h 618"/>
                <a:gd name="T10" fmla="*/ 62 w 501"/>
                <a:gd name="T11" fmla="*/ 415 h 618"/>
                <a:gd name="T12" fmla="*/ 119 w 501"/>
                <a:gd name="T13" fmla="*/ 588 h 618"/>
                <a:gd name="T14" fmla="*/ 149 w 501"/>
                <a:gd name="T15" fmla="*/ 618 h 618"/>
                <a:gd name="T16" fmla="*/ 353 w 501"/>
                <a:gd name="T17" fmla="*/ 618 h 618"/>
                <a:gd name="T18" fmla="*/ 383 w 501"/>
                <a:gd name="T19" fmla="*/ 588 h 618"/>
                <a:gd name="T20" fmla="*/ 142 w 501"/>
                <a:gd name="T21" fmla="*/ 588 h 618"/>
                <a:gd name="T22" fmla="*/ 79 w 501"/>
                <a:gd name="T23" fmla="*/ 400 h 618"/>
                <a:gd name="T24" fmla="*/ 23 w 501"/>
                <a:gd name="T25" fmla="*/ 250 h 618"/>
                <a:gd name="T26" fmla="*/ 251 w 501"/>
                <a:gd name="T27" fmla="*/ 23 h 618"/>
                <a:gd name="T28" fmla="*/ 478 w 501"/>
                <a:gd name="T29" fmla="*/ 250 h 618"/>
                <a:gd name="T30" fmla="*/ 422 w 501"/>
                <a:gd name="T31" fmla="*/ 399 h 618"/>
                <a:gd name="T32" fmla="*/ 360 w 501"/>
                <a:gd name="T33" fmla="*/ 588 h 618"/>
                <a:gd name="T34" fmla="*/ 353 w 501"/>
                <a:gd name="T35" fmla="*/ 595 h 618"/>
                <a:gd name="T36" fmla="*/ 149 w 501"/>
                <a:gd name="T37" fmla="*/ 595 h 618"/>
                <a:gd name="T38" fmla="*/ 142 w 501"/>
                <a:gd name="T39" fmla="*/ 58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618">
                  <a:moveTo>
                    <a:pt x="383" y="588"/>
                  </a:moveTo>
                  <a:cubicBezTo>
                    <a:pt x="383" y="479"/>
                    <a:pt x="439" y="416"/>
                    <a:pt x="440" y="415"/>
                  </a:cubicBezTo>
                  <a:cubicBezTo>
                    <a:pt x="479" y="369"/>
                    <a:pt x="501" y="311"/>
                    <a:pt x="501" y="250"/>
                  </a:cubicBezTo>
                  <a:cubicBezTo>
                    <a:pt x="501" y="112"/>
                    <a:pt x="389" y="0"/>
                    <a:pt x="251" y="0"/>
                  </a:cubicBezTo>
                  <a:cubicBezTo>
                    <a:pt x="113" y="0"/>
                    <a:pt x="0" y="112"/>
                    <a:pt x="0" y="250"/>
                  </a:cubicBezTo>
                  <a:cubicBezTo>
                    <a:pt x="0" y="311"/>
                    <a:pt x="22" y="369"/>
                    <a:pt x="62" y="415"/>
                  </a:cubicBezTo>
                  <a:cubicBezTo>
                    <a:pt x="63" y="416"/>
                    <a:pt x="119" y="479"/>
                    <a:pt x="119" y="588"/>
                  </a:cubicBezTo>
                  <a:cubicBezTo>
                    <a:pt x="119" y="605"/>
                    <a:pt x="131" y="618"/>
                    <a:pt x="149" y="618"/>
                  </a:cubicBezTo>
                  <a:cubicBezTo>
                    <a:pt x="353" y="618"/>
                    <a:pt x="353" y="618"/>
                    <a:pt x="353" y="618"/>
                  </a:cubicBezTo>
                  <a:cubicBezTo>
                    <a:pt x="370" y="618"/>
                    <a:pt x="383" y="605"/>
                    <a:pt x="383" y="588"/>
                  </a:cubicBezTo>
                  <a:close/>
                  <a:moveTo>
                    <a:pt x="142" y="588"/>
                  </a:moveTo>
                  <a:cubicBezTo>
                    <a:pt x="142" y="469"/>
                    <a:pt x="82" y="402"/>
                    <a:pt x="79" y="400"/>
                  </a:cubicBezTo>
                  <a:cubicBezTo>
                    <a:pt x="43" y="358"/>
                    <a:pt x="23" y="305"/>
                    <a:pt x="23" y="250"/>
                  </a:cubicBezTo>
                  <a:cubicBezTo>
                    <a:pt x="23" y="125"/>
                    <a:pt x="125" y="23"/>
                    <a:pt x="251" y="23"/>
                  </a:cubicBezTo>
                  <a:cubicBezTo>
                    <a:pt x="376" y="23"/>
                    <a:pt x="478" y="125"/>
                    <a:pt x="478" y="250"/>
                  </a:cubicBezTo>
                  <a:cubicBezTo>
                    <a:pt x="478" y="305"/>
                    <a:pt x="458" y="358"/>
                    <a:pt x="422" y="399"/>
                  </a:cubicBezTo>
                  <a:cubicBezTo>
                    <a:pt x="420" y="402"/>
                    <a:pt x="360" y="469"/>
                    <a:pt x="360" y="588"/>
                  </a:cubicBezTo>
                  <a:cubicBezTo>
                    <a:pt x="360" y="592"/>
                    <a:pt x="357" y="595"/>
                    <a:pt x="353" y="595"/>
                  </a:cubicBezTo>
                  <a:cubicBezTo>
                    <a:pt x="149" y="595"/>
                    <a:pt x="149" y="595"/>
                    <a:pt x="149" y="595"/>
                  </a:cubicBezTo>
                  <a:cubicBezTo>
                    <a:pt x="144" y="595"/>
                    <a:pt x="142" y="592"/>
                    <a:pt x="142" y="588"/>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3" name="Rectangle 25"/>
            <p:cNvSpPr>
              <a:spLocks noChangeArrowheads="1"/>
            </p:cNvSpPr>
            <p:nvPr userDrawn="1"/>
          </p:nvSpPr>
          <p:spPr bwMode="auto">
            <a:xfrm>
              <a:off x="17721263" y="1393825"/>
              <a:ext cx="642938"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4" name="Freeform 26"/>
            <p:cNvSpPr>
              <a:spLocks/>
            </p:cNvSpPr>
            <p:nvPr userDrawn="1"/>
          </p:nvSpPr>
          <p:spPr bwMode="auto">
            <a:xfrm>
              <a:off x="14730413" y="1054100"/>
              <a:ext cx="2894013" cy="2547938"/>
            </a:xfrm>
            <a:custGeom>
              <a:avLst/>
              <a:gdLst>
                <a:gd name="T0" fmla="*/ 196 w 914"/>
                <a:gd name="T1" fmla="*/ 805 h 805"/>
                <a:gd name="T2" fmla="*/ 182 w 914"/>
                <a:gd name="T3" fmla="*/ 725 h 805"/>
                <a:gd name="T4" fmla="*/ 151 w 914"/>
                <a:gd name="T5" fmla="*/ 684 h 805"/>
                <a:gd name="T6" fmla="*/ 136 w 914"/>
                <a:gd name="T7" fmla="*/ 667 h 805"/>
                <a:gd name="T8" fmla="*/ 145 w 914"/>
                <a:gd name="T9" fmla="*/ 165 h 805"/>
                <a:gd name="T10" fmla="*/ 534 w 914"/>
                <a:gd name="T11" fmla="*/ 70 h 805"/>
                <a:gd name="T12" fmla="*/ 784 w 914"/>
                <a:gd name="T13" fmla="*/ 382 h 805"/>
                <a:gd name="T14" fmla="*/ 785 w 914"/>
                <a:gd name="T15" fmla="*/ 391 h 805"/>
                <a:gd name="T16" fmla="*/ 792 w 914"/>
                <a:gd name="T17" fmla="*/ 430 h 805"/>
                <a:gd name="T18" fmla="*/ 813 w 914"/>
                <a:gd name="T19" fmla="*/ 471 h 805"/>
                <a:gd name="T20" fmla="*/ 877 w 914"/>
                <a:gd name="T21" fmla="*/ 576 h 805"/>
                <a:gd name="T22" fmla="*/ 885 w 914"/>
                <a:gd name="T23" fmla="*/ 606 h 805"/>
                <a:gd name="T24" fmla="*/ 860 w 914"/>
                <a:gd name="T25" fmla="*/ 610 h 805"/>
                <a:gd name="T26" fmla="*/ 817 w 914"/>
                <a:gd name="T27" fmla="*/ 620 h 805"/>
                <a:gd name="T28" fmla="*/ 805 w 914"/>
                <a:gd name="T29" fmla="*/ 659 h 805"/>
                <a:gd name="T30" fmla="*/ 806 w 914"/>
                <a:gd name="T31" fmla="*/ 805 h 805"/>
                <a:gd name="T32" fmla="*/ 829 w 914"/>
                <a:gd name="T33" fmla="*/ 805 h 805"/>
                <a:gd name="T34" fmla="*/ 828 w 914"/>
                <a:gd name="T35" fmla="*/ 659 h 805"/>
                <a:gd name="T36" fmla="*/ 833 w 914"/>
                <a:gd name="T37" fmla="*/ 636 h 805"/>
                <a:gd name="T38" fmla="*/ 859 w 914"/>
                <a:gd name="T39" fmla="*/ 633 h 805"/>
                <a:gd name="T40" fmla="*/ 903 w 914"/>
                <a:gd name="T41" fmla="*/ 620 h 805"/>
                <a:gd name="T42" fmla="*/ 897 w 914"/>
                <a:gd name="T43" fmla="*/ 563 h 805"/>
                <a:gd name="T44" fmla="*/ 832 w 914"/>
                <a:gd name="T45" fmla="*/ 459 h 805"/>
                <a:gd name="T46" fmla="*/ 814 w 914"/>
                <a:gd name="T47" fmla="*/ 423 h 805"/>
                <a:gd name="T48" fmla="*/ 808 w 914"/>
                <a:gd name="T49" fmla="*/ 388 h 805"/>
                <a:gd name="T50" fmla="*/ 807 w 914"/>
                <a:gd name="T51" fmla="*/ 380 h 805"/>
                <a:gd name="T52" fmla="*/ 541 w 914"/>
                <a:gd name="T53" fmla="*/ 48 h 805"/>
                <a:gd name="T54" fmla="*/ 129 w 914"/>
                <a:gd name="T55" fmla="*/ 149 h 805"/>
                <a:gd name="T56" fmla="*/ 23 w 914"/>
                <a:gd name="T57" fmla="*/ 400 h 805"/>
                <a:gd name="T58" fmla="*/ 118 w 914"/>
                <a:gd name="T59" fmla="*/ 682 h 805"/>
                <a:gd name="T60" fmla="*/ 134 w 914"/>
                <a:gd name="T61" fmla="*/ 699 h 805"/>
                <a:gd name="T62" fmla="*/ 162 w 914"/>
                <a:gd name="T63" fmla="*/ 736 h 805"/>
                <a:gd name="T64" fmla="*/ 173 w 914"/>
                <a:gd name="T65" fmla="*/ 805 h 805"/>
                <a:gd name="T66" fmla="*/ 196 w 914"/>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4" h="805">
                  <a:moveTo>
                    <a:pt x="196" y="805"/>
                  </a:moveTo>
                  <a:cubicBezTo>
                    <a:pt x="199" y="775"/>
                    <a:pt x="194" y="748"/>
                    <a:pt x="182" y="725"/>
                  </a:cubicBezTo>
                  <a:cubicBezTo>
                    <a:pt x="173" y="709"/>
                    <a:pt x="163" y="697"/>
                    <a:pt x="151" y="684"/>
                  </a:cubicBezTo>
                  <a:cubicBezTo>
                    <a:pt x="146" y="679"/>
                    <a:pt x="141" y="673"/>
                    <a:pt x="136" y="667"/>
                  </a:cubicBezTo>
                  <a:cubicBezTo>
                    <a:pt x="0" y="508"/>
                    <a:pt x="31" y="280"/>
                    <a:pt x="145" y="165"/>
                  </a:cubicBezTo>
                  <a:cubicBezTo>
                    <a:pt x="248" y="62"/>
                    <a:pt x="400" y="25"/>
                    <a:pt x="534" y="70"/>
                  </a:cubicBezTo>
                  <a:cubicBezTo>
                    <a:pt x="666" y="115"/>
                    <a:pt x="769" y="244"/>
                    <a:pt x="784" y="382"/>
                  </a:cubicBezTo>
                  <a:cubicBezTo>
                    <a:pt x="785" y="385"/>
                    <a:pt x="785" y="388"/>
                    <a:pt x="785" y="391"/>
                  </a:cubicBezTo>
                  <a:cubicBezTo>
                    <a:pt x="786" y="404"/>
                    <a:pt x="788" y="417"/>
                    <a:pt x="792" y="430"/>
                  </a:cubicBezTo>
                  <a:cubicBezTo>
                    <a:pt x="797" y="445"/>
                    <a:pt x="805" y="458"/>
                    <a:pt x="813" y="471"/>
                  </a:cubicBezTo>
                  <a:cubicBezTo>
                    <a:pt x="877" y="576"/>
                    <a:pt x="877" y="576"/>
                    <a:pt x="877" y="576"/>
                  </a:cubicBezTo>
                  <a:cubicBezTo>
                    <a:pt x="884" y="586"/>
                    <a:pt x="890" y="599"/>
                    <a:pt x="885" y="606"/>
                  </a:cubicBezTo>
                  <a:cubicBezTo>
                    <a:pt x="881" y="611"/>
                    <a:pt x="873" y="610"/>
                    <a:pt x="860" y="610"/>
                  </a:cubicBezTo>
                  <a:cubicBezTo>
                    <a:pt x="846" y="609"/>
                    <a:pt x="829" y="608"/>
                    <a:pt x="817" y="620"/>
                  </a:cubicBezTo>
                  <a:cubicBezTo>
                    <a:pt x="805" y="631"/>
                    <a:pt x="805" y="649"/>
                    <a:pt x="805" y="659"/>
                  </a:cubicBezTo>
                  <a:cubicBezTo>
                    <a:pt x="806" y="805"/>
                    <a:pt x="806" y="805"/>
                    <a:pt x="806" y="805"/>
                  </a:cubicBezTo>
                  <a:cubicBezTo>
                    <a:pt x="829" y="805"/>
                    <a:pt x="829" y="805"/>
                    <a:pt x="829" y="805"/>
                  </a:cubicBezTo>
                  <a:cubicBezTo>
                    <a:pt x="828" y="659"/>
                    <a:pt x="828" y="659"/>
                    <a:pt x="828" y="659"/>
                  </a:cubicBezTo>
                  <a:cubicBezTo>
                    <a:pt x="828" y="650"/>
                    <a:pt x="829" y="641"/>
                    <a:pt x="833" y="636"/>
                  </a:cubicBezTo>
                  <a:cubicBezTo>
                    <a:pt x="838" y="632"/>
                    <a:pt x="848" y="632"/>
                    <a:pt x="859" y="633"/>
                  </a:cubicBezTo>
                  <a:cubicBezTo>
                    <a:pt x="873" y="634"/>
                    <a:pt x="891" y="635"/>
                    <a:pt x="903" y="620"/>
                  </a:cubicBezTo>
                  <a:cubicBezTo>
                    <a:pt x="914" y="607"/>
                    <a:pt x="912" y="587"/>
                    <a:pt x="897" y="563"/>
                  </a:cubicBezTo>
                  <a:cubicBezTo>
                    <a:pt x="832" y="459"/>
                    <a:pt x="832" y="459"/>
                    <a:pt x="832" y="459"/>
                  </a:cubicBezTo>
                  <a:cubicBezTo>
                    <a:pt x="825" y="447"/>
                    <a:pt x="818" y="435"/>
                    <a:pt x="814" y="423"/>
                  </a:cubicBezTo>
                  <a:cubicBezTo>
                    <a:pt x="810" y="412"/>
                    <a:pt x="809" y="401"/>
                    <a:pt x="808" y="388"/>
                  </a:cubicBezTo>
                  <a:cubicBezTo>
                    <a:pt x="808" y="386"/>
                    <a:pt x="808" y="383"/>
                    <a:pt x="807" y="380"/>
                  </a:cubicBezTo>
                  <a:cubicBezTo>
                    <a:pt x="791" y="230"/>
                    <a:pt x="684" y="97"/>
                    <a:pt x="541" y="48"/>
                  </a:cubicBezTo>
                  <a:cubicBezTo>
                    <a:pt x="400" y="0"/>
                    <a:pt x="238" y="40"/>
                    <a:pt x="129" y="149"/>
                  </a:cubicBezTo>
                  <a:cubicBezTo>
                    <a:pt x="67" y="211"/>
                    <a:pt x="28" y="303"/>
                    <a:pt x="23" y="400"/>
                  </a:cubicBezTo>
                  <a:cubicBezTo>
                    <a:pt x="18" y="504"/>
                    <a:pt x="52" y="604"/>
                    <a:pt x="118" y="682"/>
                  </a:cubicBezTo>
                  <a:cubicBezTo>
                    <a:pt x="124" y="688"/>
                    <a:pt x="129" y="694"/>
                    <a:pt x="134" y="699"/>
                  </a:cubicBezTo>
                  <a:cubicBezTo>
                    <a:pt x="145" y="713"/>
                    <a:pt x="154" y="722"/>
                    <a:pt x="162" y="736"/>
                  </a:cubicBezTo>
                  <a:cubicBezTo>
                    <a:pt x="172" y="756"/>
                    <a:pt x="176" y="779"/>
                    <a:pt x="173" y="805"/>
                  </a:cubicBezTo>
                  <a:lnTo>
                    <a:pt x="196" y="80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5" name="Freeform 27"/>
            <p:cNvSpPr>
              <a:spLocks/>
            </p:cNvSpPr>
            <p:nvPr userDrawn="1"/>
          </p:nvSpPr>
          <p:spPr bwMode="auto">
            <a:xfrm>
              <a:off x="14692313" y="-1844675"/>
              <a:ext cx="7050088" cy="5446713"/>
            </a:xfrm>
            <a:custGeom>
              <a:avLst/>
              <a:gdLst>
                <a:gd name="T0" fmla="*/ 1059 w 2227"/>
                <a:gd name="T1" fmla="*/ 23 h 1721"/>
                <a:gd name="T2" fmla="*/ 2204 w 2227"/>
                <a:gd name="T3" fmla="*/ 1168 h 1721"/>
                <a:gd name="T4" fmla="*/ 2061 w 2227"/>
                <a:gd name="T5" fmla="*/ 1721 h 1721"/>
                <a:gd name="T6" fmla="*/ 2087 w 2227"/>
                <a:gd name="T7" fmla="*/ 1721 h 1721"/>
                <a:gd name="T8" fmla="*/ 2227 w 2227"/>
                <a:gd name="T9" fmla="*/ 1168 h 1721"/>
                <a:gd name="T10" fmla="*/ 1059 w 2227"/>
                <a:gd name="T11" fmla="*/ 0 h 1721"/>
                <a:gd name="T12" fmla="*/ 0 w 2227"/>
                <a:gd name="T13" fmla="*/ 674 h 1721"/>
                <a:gd name="T14" fmla="*/ 0 w 2227"/>
                <a:gd name="T15" fmla="*/ 731 h 1721"/>
                <a:gd name="T16" fmla="*/ 1059 w 2227"/>
                <a:gd name="T17" fmla="*/ 23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7" h="1721">
                  <a:moveTo>
                    <a:pt x="1059" y="23"/>
                  </a:moveTo>
                  <a:cubicBezTo>
                    <a:pt x="1690" y="23"/>
                    <a:pt x="2204" y="537"/>
                    <a:pt x="2204" y="1168"/>
                  </a:cubicBezTo>
                  <a:cubicBezTo>
                    <a:pt x="2204" y="1368"/>
                    <a:pt x="2152" y="1557"/>
                    <a:pt x="2061" y="1721"/>
                  </a:cubicBezTo>
                  <a:cubicBezTo>
                    <a:pt x="2087" y="1721"/>
                    <a:pt x="2087" y="1721"/>
                    <a:pt x="2087" y="1721"/>
                  </a:cubicBezTo>
                  <a:cubicBezTo>
                    <a:pt x="2176" y="1556"/>
                    <a:pt x="2227" y="1368"/>
                    <a:pt x="2227" y="1168"/>
                  </a:cubicBezTo>
                  <a:cubicBezTo>
                    <a:pt x="2227" y="524"/>
                    <a:pt x="1703" y="0"/>
                    <a:pt x="1059" y="0"/>
                  </a:cubicBezTo>
                  <a:cubicBezTo>
                    <a:pt x="591" y="0"/>
                    <a:pt x="187" y="276"/>
                    <a:pt x="0" y="674"/>
                  </a:cubicBezTo>
                  <a:cubicBezTo>
                    <a:pt x="0" y="731"/>
                    <a:pt x="0" y="731"/>
                    <a:pt x="0" y="731"/>
                  </a:cubicBezTo>
                  <a:cubicBezTo>
                    <a:pt x="172" y="316"/>
                    <a:pt x="582" y="23"/>
                    <a:pt x="1059" y="23"/>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6" name="Freeform 28"/>
            <p:cNvSpPr>
              <a:spLocks/>
            </p:cNvSpPr>
            <p:nvPr userDrawn="1"/>
          </p:nvSpPr>
          <p:spPr bwMode="auto">
            <a:xfrm>
              <a:off x="14692313" y="3232150"/>
              <a:ext cx="179388" cy="369888"/>
            </a:xfrm>
            <a:custGeom>
              <a:avLst/>
              <a:gdLst>
                <a:gd name="T0" fmla="*/ 57 w 57"/>
                <a:gd name="T1" fmla="*/ 117 h 117"/>
                <a:gd name="T2" fmla="*/ 0 w 57"/>
                <a:gd name="T3" fmla="*/ 0 h 117"/>
                <a:gd name="T4" fmla="*/ 0 w 57"/>
                <a:gd name="T5" fmla="*/ 58 h 117"/>
                <a:gd name="T6" fmla="*/ 30 w 57"/>
                <a:gd name="T7" fmla="*/ 117 h 117"/>
                <a:gd name="T8" fmla="*/ 57 w 57"/>
                <a:gd name="T9" fmla="*/ 117 h 117"/>
              </a:gdLst>
              <a:ahLst/>
              <a:cxnLst>
                <a:cxn ang="0">
                  <a:pos x="T0" y="T1"/>
                </a:cxn>
                <a:cxn ang="0">
                  <a:pos x="T2" y="T3"/>
                </a:cxn>
                <a:cxn ang="0">
                  <a:pos x="T4" y="T5"/>
                </a:cxn>
                <a:cxn ang="0">
                  <a:pos x="T6" y="T7"/>
                </a:cxn>
                <a:cxn ang="0">
                  <a:pos x="T8" y="T9"/>
                </a:cxn>
              </a:cxnLst>
              <a:rect l="0" t="0" r="r" b="b"/>
              <a:pathLst>
                <a:path w="57" h="117">
                  <a:moveTo>
                    <a:pt x="57" y="117"/>
                  </a:moveTo>
                  <a:cubicBezTo>
                    <a:pt x="36" y="79"/>
                    <a:pt x="17" y="41"/>
                    <a:pt x="0" y="0"/>
                  </a:cubicBezTo>
                  <a:cubicBezTo>
                    <a:pt x="0" y="58"/>
                    <a:pt x="0" y="58"/>
                    <a:pt x="0" y="58"/>
                  </a:cubicBezTo>
                  <a:cubicBezTo>
                    <a:pt x="10" y="78"/>
                    <a:pt x="20" y="98"/>
                    <a:pt x="30" y="117"/>
                  </a:cubicBezTo>
                  <a:lnTo>
                    <a:pt x="57" y="117"/>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7" name="Freeform 29"/>
            <p:cNvSpPr>
              <a:spLocks/>
            </p:cNvSpPr>
            <p:nvPr userDrawn="1"/>
          </p:nvSpPr>
          <p:spPr bwMode="auto">
            <a:xfrm>
              <a:off x="18465800" y="1054100"/>
              <a:ext cx="2890838" cy="2547938"/>
            </a:xfrm>
            <a:custGeom>
              <a:avLst/>
              <a:gdLst>
                <a:gd name="T0" fmla="*/ 108 w 913"/>
                <a:gd name="T1" fmla="*/ 805 h 805"/>
                <a:gd name="T2" fmla="*/ 108 w 913"/>
                <a:gd name="T3" fmla="*/ 659 h 805"/>
                <a:gd name="T4" fmla="*/ 97 w 913"/>
                <a:gd name="T5" fmla="*/ 620 h 805"/>
                <a:gd name="T6" fmla="*/ 54 w 913"/>
                <a:gd name="T7" fmla="*/ 610 h 805"/>
                <a:gd name="T8" fmla="*/ 29 w 913"/>
                <a:gd name="T9" fmla="*/ 606 h 805"/>
                <a:gd name="T10" fmla="*/ 36 w 913"/>
                <a:gd name="T11" fmla="*/ 576 h 805"/>
                <a:gd name="T12" fmla="*/ 101 w 913"/>
                <a:gd name="T13" fmla="*/ 471 h 805"/>
                <a:gd name="T14" fmla="*/ 122 w 913"/>
                <a:gd name="T15" fmla="*/ 430 h 805"/>
                <a:gd name="T16" fmla="*/ 128 w 913"/>
                <a:gd name="T17" fmla="*/ 391 h 805"/>
                <a:gd name="T18" fmla="*/ 129 w 913"/>
                <a:gd name="T19" fmla="*/ 382 h 805"/>
                <a:gd name="T20" fmla="*/ 380 w 913"/>
                <a:gd name="T21" fmla="*/ 70 h 805"/>
                <a:gd name="T22" fmla="*/ 768 w 913"/>
                <a:gd name="T23" fmla="*/ 165 h 805"/>
                <a:gd name="T24" fmla="*/ 778 w 913"/>
                <a:gd name="T25" fmla="*/ 667 h 805"/>
                <a:gd name="T26" fmla="*/ 763 w 913"/>
                <a:gd name="T27" fmla="*/ 684 h 805"/>
                <a:gd name="T28" fmla="*/ 732 w 913"/>
                <a:gd name="T29" fmla="*/ 725 h 805"/>
                <a:gd name="T30" fmla="*/ 717 w 913"/>
                <a:gd name="T31" fmla="*/ 805 h 805"/>
                <a:gd name="T32" fmla="*/ 740 w 913"/>
                <a:gd name="T33" fmla="*/ 805 h 805"/>
                <a:gd name="T34" fmla="*/ 752 w 913"/>
                <a:gd name="T35" fmla="*/ 736 h 805"/>
                <a:gd name="T36" fmla="*/ 780 w 913"/>
                <a:gd name="T37" fmla="*/ 699 h 805"/>
                <a:gd name="T38" fmla="*/ 796 w 913"/>
                <a:gd name="T39" fmla="*/ 682 h 805"/>
                <a:gd name="T40" fmla="*/ 890 w 913"/>
                <a:gd name="T41" fmla="*/ 400 h 805"/>
                <a:gd name="T42" fmla="*/ 785 w 913"/>
                <a:gd name="T43" fmla="*/ 149 h 805"/>
                <a:gd name="T44" fmla="*/ 372 w 913"/>
                <a:gd name="T45" fmla="*/ 48 h 805"/>
                <a:gd name="T46" fmla="*/ 106 w 913"/>
                <a:gd name="T47" fmla="*/ 380 h 805"/>
                <a:gd name="T48" fmla="*/ 105 w 913"/>
                <a:gd name="T49" fmla="*/ 388 h 805"/>
                <a:gd name="T50" fmla="*/ 100 w 913"/>
                <a:gd name="T51" fmla="*/ 423 h 805"/>
                <a:gd name="T52" fmla="*/ 81 w 913"/>
                <a:gd name="T53" fmla="*/ 459 h 805"/>
                <a:gd name="T54" fmla="*/ 16 w 913"/>
                <a:gd name="T55" fmla="*/ 563 h 805"/>
                <a:gd name="T56" fmla="*/ 11 w 913"/>
                <a:gd name="T57" fmla="*/ 620 h 805"/>
                <a:gd name="T58" fmla="*/ 55 w 913"/>
                <a:gd name="T59" fmla="*/ 633 h 805"/>
                <a:gd name="T60" fmla="*/ 81 w 913"/>
                <a:gd name="T61" fmla="*/ 636 h 805"/>
                <a:gd name="T62" fmla="*/ 85 w 913"/>
                <a:gd name="T63" fmla="*/ 659 h 805"/>
                <a:gd name="T64" fmla="*/ 85 w 913"/>
                <a:gd name="T65" fmla="*/ 805 h 805"/>
                <a:gd name="T66" fmla="*/ 108 w 913"/>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3" h="805">
                  <a:moveTo>
                    <a:pt x="108" y="805"/>
                  </a:moveTo>
                  <a:cubicBezTo>
                    <a:pt x="108" y="659"/>
                    <a:pt x="108" y="659"/>
                    <a:pt x="108" y="659"/>
                  </a:cubicBezTo>
                  <a:cubicBezTo>
                    <a:pt x="108" y="649"/>
                    <a:pt x="109" y="631"/>
                    <a:pt x="97" y="620"/>
                  </a:cubicBezTo>
                  <a:cubicBezTo>
                    <a:pt x="85" y="608"/>
                    <a:pt x="67" y="609"/>
                    <a:pt x="54" y="610"/>
                  </a:cubicBezTo>
                  <a:cubicBezTo>
                    <a:pt x="41" y="610"/>
                    <a:pt x="33" y="611"/>
                    <a:pt x="29" y="606"/>
                  </a:cubicBezTo>
                  <a:cubicBezTo>
                    <a:pt x="24" y="599"/>
                    <a:pt x="30" y="586"/>
                    <a:pt x="36" y="576"/>
                  </a:cubicBezTo>
                  <a:cubicBezTo>
                    <a:pt x="101" y="471"/>
                    <a:pt x="101" y="471"/>
                    <a:pt x="101" y="471"/>
                  </a:cubicBezTo>
                  <a:cubicBezTo>
                    <a:pt x="109" y="458"/>
                    <a:pt x="117" y="445"/>
                    <a:pt x="122" y="430"/>
                  </a:cubicBezTo>
                  <a:cubicBezTo>
                    <a:pt x="126" y="417"/>
                    <a:pt x="127" y="404"/>
                    <a:pt x="128" y="391"/>
                  </a:cubicBezTo>
                  <a:cubicBezTo>
                    <a:pt x="129" y="388"/>
                    <a:pt x="129" y="385"/>
                    <a:pt x="129" y="382"/>
                  </a:cubicBezTo>
                  <a:cubicBezTo>
                    <a:pt x="145" y="244"/>
                    <a:pt x="247" y="115"/>
                    <a:pt x="380" y="70"/>
                  </a:cubicBezTo>
                  <a:cubicBezTo>
                    <a:pt x="513" y="25"/>
                    <a:pt x="666" y="62"/>
                    <a:pt x="768" y="165"/>
                  </a:cubicBezTo>
                  <a:cubicBezTo>
                    <a:pt x="882" y="280"/>
                    <a:pt x="913" y="508"/>
                    <a:pt x="778" y="667"/>
                  </a:cubicBezTo>
                  <a:cubicBezTo>
                    <a:pt x="772" y="673"/>
                    <a:pt x="767" y="679"/>
                    <a:pt x="763" y="684"/>
                  </a:cubicBezTo>
                  <a:cubicBezTo>
                    <a:pt x="751" y="697"/>
                    <a:pt x="740" y="709"/>
                    <a:pt x="732" y="725"/>
                  </a:cubicBezTo>
                  <a:cubicBezTo>
                    <a:pt x="719" y="748"/>
                    <a:pt x="715" y="775"/>
                    <a:pt x="717" y="805"/>
                  </a:cubicBezTo>
                  <a:cubicBezTo>
                    <a:pt x="740" y="805"/>
                    <a:pt x="740" y="805"/>
                    <a:pt x="740" y="805"/>
                  </a:cubicBezTo>
                  <a:cubicBezTo>
                    <a:pt x="738" y="779"/>
                    <a:pt x="742" y="756"/>
                    <a:pt x="752" y="736"/>
                  </a:cubicBezTo>
                  <a:cubicBezTo>
                    <a:pt x="759" y="722"/>
                    <a:pt x="768" y="713"/>
                    <a:pt x="780" y="699"/>
                  </a:cubicBezTo>
                  <a:cubicBezTo>
                    <a:pt x="785" y="694"/>
                    <a:pt x="790" y="688"/>
                    <a:pt x="796" y="682"/>
                  </a:cubicBezTo>
                  <a:cubicBezTo>
                    <a:pt x="862" y="604"/>
                    <a:pt x="895" y="504"/>
                    <a:pt x="890" y="400"/>
                  </a:cubicBezTo>
                  <a:cubicBezTo>
                    <a:pt x="886" y="303"/>
                    <a:pt x="847" y="211"/>
                    <a:pt x="785" y="149"/>
                  </a:cubicBezTo>
                  <a:cubicBezTo>
                    <a:pt x="676" y="40"/>
                    <a:pt x="514" y="0"/>
                    <a:pt x="372" y="48"/>
                  </a:cubicBezTo>
                  <a:cubicBezTo>
                    <a:pt x="230" y="97"/>
                    <a:pt x="123" y="230"/>
                    <a:pt x="106" y="380"/>
                  </a:cubicBezTo>
                  <a:cubicBezTo>
                    <a:pt x="106" y="383"/>
                    <a:pt x="106" y="386"/>
                    <a:pt x="105" y="388"/>
                  </a:cubicBezTo>
                  <a:cubicBezTo>
                    <a:pt x="104" y="401"/>
                    <a:pt x="103" y="412"/>
                    <a:pt x="100" y="423"/>
                  </a:cubicBezTo>
                  <a:cubicBezTo>
                    <a:pt x="96" y="435"/>
                    <a:pt x="88" y="447"/>
                    <a:pt x="81" y="459"/>
                  </a:cubicBezTo>
                  <a:cubicBezTo>
                    <a:pt x="16" y="563"/>
                    <a:pt x="16" y="563"/>
                    <a:pt x="16" y="563"/>
                  </a:cubicBezTo>
                  <a:cubicBezTo>
                    <a:pt x="2" y="587"/>
                    <a:pt x="0" y="607"/>
                    <a:pt x="11" y="620"/>
                  </a:cubicBezTo>
                  <a:cubicBezTo>
                    <a:pt x="22" y="635"/>
                    <a:pt x="40" y="634"/>
                    <a:pt x="55" y="633"/>
                  </a:cubicBezTo>
                  <a:cubicBezTo>
                    <a:pt x="66" y="632"/>
                    <a:pt x="76" y="632"/>
                    <a:pt x="81" y="636"/>
                  </a:cubicBezTo>
                  <a:cubicBezTo>
                    <a:pt x="85" y="641"/>
                    <a:pt x="85" y="650"/>
                    <a:pt x="85" y="659"/>
                  </a:cubicBezTo>
                  <a:cubicBezTo>
                    <a:pt x="85" y="805"/>
                    <a:pt x="85" y="805"/>
                    <a:pt x="85" y="805"/>
                  </a:cubicBezTo>
                  <a:lnTo>
                    <a:pt x="108" y="80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32" name="Rechteck 27"/>
          <p:cNvSpPr/>
          <p:nvPr userDrawn="1"/>
        </p:nvSpPr>
        <p:spPr bwMode="gray">
          <a:xfrm>
            <a:off x="4741764" y="5"/>
            <a:ext cx="2007788" cy="6858001"/>
          </a:xfrm>
          <a:custGeom>
            <a:avLst/>
            <a:gdLst/>
            <a:ahLst/>
            <a:cxnLst/>
            <a:rect l="l" t="t" r="r" b="b"/>
            <a:pathLst>
              <a:path w="2007788" h="6858001">
                <a:moveTo>
                  <a:pt x="1651966" y="0"/>
                </a:moveTo>
                <a:lnTo>
                  <a:pt x="2007788" y="0"/>
                </a:lnTo>
                <a:lnTo>
                  <a:pt x="355822" y="6858000"/>
                </a:lnTo>
                <a:lnTo>
                  <a:pt x="0" y="685800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14" name="Picture Placeholder 12"/>
          <p:cNvSpPr>
            <a:spLocks noGrp="1"/>
          </p:cNvSpPr>
          <p:nvPr>
            <p:ph type="pic" sz="quarter" idx="14" hasCustomPrompt="1"/>
          </p:nvPr>
        </p:nvSpPr>
        <p:spPr bwMode="gray">
          <a:xfrm>
            <a:off x="5099397" y="-2379"/>
            <a:ext cx="5739896" cy="6861811"/>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 name="connsiteX0" fmla="*/ 1341581 w 8131850"/>
              <a:gd name="connsiteY0" fmla="*/ 0 h 6858000"/>
              <a:gd name="connsiteX1" fmla="*/ 8112573 w 8131850"/>
              <a:gd name="connsiteY1" fmla="*/ 0 h 6858000"/>
              <a:gd name="connsiteX2" fmla="*/ 3275459 w 8131850"/>
              <a:gd name="connsiteY2" fmla="*/ 6858000 h 6858000"/>
              <a:gd name="connsiteX3" fmla="*/ 0 w 8131850"/>
              <a:gd name="connsiteY3" fmla="*/ 6858000 h 6858000"/>
              <a:gd name="connsiteX4" fmla="*/ 1341581 w 8131850"/>
              <a:gd name="connsiteY4" fmla="*/ 0 h 6858000"/>
              <a:gd name="connsiteX0" fmla="*/ 1341581 w 8147282"/>
              <a:gd name="connsiteY0" fmla="*/ 0 h 6880860"/>
              <a:gd name="connsiteX1" fmla="*/ 8112573 w 8147282"/>
              <a:gd name="connsiteY1" fmla="*/ 0 h 6880860"/>
              <a:gd name="connsiteX2" fmla="*/ 5089019 w 8147282"/>
              <a:gd name="connsiteY2" fmla="*/ 6880860 h 6880860"/>
              <a:gd name="connsiteX3" fmla="*/ 0 w 8147282"/>
              <a:gd name="connsiteY3" fmla="*/ 6858000 h 6880860"/>
              <a:gd name="connsiteX4" fmla="*/ 1341581 w 8147282"/>
              <a:gd name="connsiteY4" fmla="*/ 0 h 6880860"/>
              <a:gd name="connsiteX0" fmla="*/ 1341581 w 8134469"/>
              <a:gd name="connsiteY0" fmla="*/ 0 h 6880860"/>
              <a:gd name="connsiteX1" fmla="*/ 8112573 w 8134469"/>
              <a:gd name="connsiteY1" fmla="*/ 0 h 6880860"/>
              <a:gd name="connsiteX2" fmla="*/ 5089019 w 8134469"/>
              <a:gd name="connsiteY2" fmla="*/ 6880860 h 6880860"/>
              <a:gd name="connsiteX3" fmla="*/ 0 w 8134469"/>
              <a:gd name="connsiteY3" fmla="*/ 6858000 h 6880860"/>
              <a:gd name="connsiteX4" fmla="*/ 1341581 w 8134469"/>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1341581 w 6763833"/>
              <a:gd name="connsiteY4" fmla="*/ 7620 h 6888480"/>
              <a:gd name="connsiteX0" fmla="*/ 2315513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2315513 w 6763833"/>
              <a:gd name="connsiteY4" fmla="*/ 7620 h 6888480"/>
              <a:gd name="connsiteX0" fmla="*/ 2315513 w 6761452"/>
              <a:gd name="connsiteY0" fmla="*/ 476 h 6881336"/>
              <a:gd name="connsiteX1" fmla="*/ 6761452 w 6761452"/>
              <a:gd name="connsiteY1" fmla="*/ 0 h 6881336"/>
              <a:gd name="connsiteX2" fmla="*/ 5089019 w 6761452"/>
              <a:gd name="connsiteY2" fmla="*/ 6881336 h 6881336"/>
              <a:gd name="connsiteX3" fmla="*/ 0 w 6761452"/>
              <a:gd name="connsiteY3" fmla="*/ 6858476 h 6881336"/>
              <a:gd name="connsiteX4" fmla="*/ 2315513 w 6761452"/>
              <a:gd name="connsiteY4" fmla="*/ 476 h 6881336"/>
              <a:gd name="connsiteX0" fmla="*/ 2315513 w 6761452"/>
              <a:gd name="connsiteY0" fmla="*/ 476 h 6859905"/>
              <a:gd name="connsiteX1" fmla="*/ 6761452 w 6761452"/>
              <a:gd name="connsiteY1" fmla="*/ 0 h 6859905"/>
              <a:gd name="connsiteX2" fmla="*/ 5112831 w 6761452"/>
              <a:gd name="connsiteY2" fmla="*/ 6859905 h 6859905"/>
              <a:gd name="connsiteX3" fmla="*/ 0 w 6761452"/>
              <a:gd name="connsiteY3" fmla="*/ 6858476 h 6859905"/>
              <a:gd name="connsiteX4" fmla="*/ 2315513 w 6761452"/>
              <a:gd name="connsiteY4" fmla="*/ 476 h 6859905"/>
              <a:gd name="connsiteX0" fmla="*/ 1293957 w 5739896"/>
              <a:gd name="connsiteY0" fmla="*/ 476 h 6859905"/>
              <a:gd name="connsiteX1" fmla="*/ 5739896 w 5739896"/>
              <a:gd name="connsiteY1" fmla="*/ 0 h 6859905"/>
              <a:gd name="connsiteX2" fmla="*/ 4091275 w 5739896"/>
              <a:gd name="connsiteY2" fmla="*/ 6859905 h 6859905"/>
              <a:gd name="connsiteX3" fmla="*/ 0 w 5739896"/>
              <a:gd name="connsiteY3" fmla="*/ 6858476 h 6859905"/>
              <a:gd name="connsiteX4" fmla="*/ 1293957 w 5739896"/>
              <a:gd name="connsiteY4" fmla="*/ 476 h 6859905"/>
              <a:gd name="connsiteX0" fmla="*/ 1644001 w 5739896"/>
              <a:gd name="connsiteY0" fmla="*/ 0 h 6861811"/>
              <a:gd name="connsiteX1" fmla="*/ 5739896 w 5739896"/>
              <a:gd name="connsiteY1" fmla="*/ 1906 h 6861811"/>
              <a:gd name="connsiteX2" fmla="*/ 4091275 w 5739896"/>
              <a:gd name="connsiteY2" fmla="*/ 6861811 h 6861811"/>
              <a:gd name="connsiteX3" fmla="*/ 0 w 5739896"/>
              <a:gd name="connsiteY3" fmla="*/ 6860382 h 6861811"/>
              <a:gd name="connsiteX4" fmla="*/ 1644001 w 5739896"/>
              <a:gd name="connsiteY4" fmla="*/ 0 h 6861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896" h="6861811">
                <a:moveTo>
                  <a:pt x="1644001" y="0"/>
                </a:moveTo>
                <a:lnTo>
                  <a:pt x="5739896" y="1906"/>
                </a:lnTo>
                <a:lnTo>
                  <a:pt x="4091275" y="6861811"/>
                </a:lnTo>
                <a:lnTo>
                  <a:pt x="0" y="6860382"/>
                </a:lnTo>
                <a:lnTo>
                  <a:pt x="1644001" y="0"/>
                </a:lnTo>
                <a:close/>
              </a:path>
            </a:pathLst>
          </a:custGeom>
          <a:solidFill>
            <a:schemeClr val="bg1">
              <a:lumMod val="85000"/>
            </a:schemeClr>
          </a:solidFill>
        </p:spPr>
        <p:txBody>
          <a:bodyPr wrap="square" tIns="539992" anchor="ctr">
            <a:noAutofit/>
          </a:bodyPr>
          <a:lstStyle>
            <a:lvl1pPr algn="ctr">
              <a:defRPr sz="1400"/>
            </a:lvl1pPr>
          </a:lstStyle>
          <a:p>
            <a:r>
              <a:rPr lang="de-DE" dirty="0"/>
              <a:t>Insert </a:t>
            </a:r>
            <a:r>
              <a:rPr lang="de-DE" dirty="0" err="1"/>
              <a:t>picture</a:t>
            </a:r>
            <a:endParaRPr lang="de-DE" dirty="0"/>
          </a:p>
        </p:txBody>
      </p:sp>
      <p:sp>
        <p:nvSpPr>
          <p:cNvPr id="3" name="Subtitle 2"/>
          <p:cNvSpPr>
            <a:spLocks noGrp="1"/>
          </p:cNvSpPr>
          <p:nvPr>
            <p:ph type="subTitle" idx="1" hasCustomPrompt="1"/>
          </p:nvPr>
        </p:nvSpPr>
        <p:spPr bwMode="black">
          <a:xfrm>
            <a:off x="486000" y="439200"/>
            <a:ext cx="4186800" cy="392400"/>
          </a:xfrm>
        </p:spPr>
        <p:txBody>
          <a:bodyPr anchor="t"/>
          <a:lstStyle>
            <a:lvl1pPr marL="0" indent="0" algn="l">
              <a:buNone/>
              <a:defRPr sz="16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dirty="0"/>
              <a:t>Innovation</a:t>
            </a:r>
            <a:endParaRPr lang="en-US" dirty="0"/>
          </a:p>
        </p:txBody>
      </p:sp>
      <p:sp>
        <p:nvSpPr>
          <p:cNvPr id="2" name="Title 1"/>
          <p:cNvSpPr>
            <a:spLocks noGrp="1"/>
          </p:cNvSpPr>
          <p:nvPr>
            <p:ph type="ctrTitle" hasCustomPrompt="1"/>
          </p:nvPr>
        </p:nvSpPr>
        <p:spPr bwMode="black">
          <a:xfrm>
            <a:off x="486000" y="831600"/>
            <a:ext cx="4186800" cy="1396800"/>
          </a:xfrm>
        </p:spPr>
        <p:txBody>
          <a:bodyPr anchor="t"/>
          <a:lstStyle>
            <a:lvl1pPr>
              <a:defRPr sz="3600" b="1" i="0">
                <a:solidFill>
                  <a:srgbClr val="104862"/>
                </a:solidFill>
              </a:defRPr>
            </a:lvl1pPr>
          </a:lstStyle>
          <a:p>
            <a:r>
              <a:rPr lang="de-DE" dirty="0" err="1"/>
              <a:t>Presentation</a:t>
            </a:r>
            <a:r>
              <a:rPr lang="de-DE" dirty="0"/>
              <a:t> Title</a:t>
            </a:r>
            <a:endParaRPr lang="en-US" dirty="0"/>
          </a:p>
        </p:txBody>
      </p:sp>
      <p:grpSp>
        <p:nvGrpSpPr>
          <p:cNvPr id="12" name="Group 219"/>
          <p:cNvGrpSpPr>
            <a:grpSpLocks noChangeAspect="1"/>
          </p:cNvGrpSpPr>
          <p:nvPr userDrawn="1"/>
        </p:nvGrpSpPr>
        <p:grpSpPr bwMode="gray">
          <a:xfrm>
            <a:off x="11106108" y="436516"/>
            <a:ext cx="587892" cy="589010"/>
            <a:chOff x="6936" y="180"/>
            <a:chExt cx="526" cy="527"/>
          </a:xfrm>
          <a:solidFill>
            <a:schemeClr val="bg1"/>
          </a:solidFill>
        </p:grpSpPr>
        <p:sp>
          <p:nvSpPr>
            <p:cNvPr id="13"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4"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5"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6"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66" name="Rechteck 6"/>
          <p:cNvSpPr/>
          <p:nvPr userDrawn="1"/>
        </p:nvSpPr>
        <p:spPr bwMode="gray">
          <a:xfrm rot="960000">
            <a:off x="5574865" y="-146532"/>
            <a:ext cx="41291" cy="7148691"/>
          </a:xfrm>
          <a:custGeom>
            <a:avLst/>
            <a:gdLst/>
            <a:ahLst/>
            <a:cxnLst/>
            <a:rect l="l" t="t" r="r" b="b"/>
            <a:pathLst>
              <a:path w="41291" h="7148691">
                <a:moveTo>
                  <a:pt x="0" y="11840"/>
                </a:moveTo>
                <a:lnTo>
                  <a:pt x="41291" y="0"/>
                </a:lnTo>
                <a:lnTo>
                  <a:pt x="41291" y="7136851"/>
                </a:lnTo>
                <a:lnTo>
                  <a:pt x="0" y="714869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356770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_2">
    <p:bg>
      <p:bgPr>
        <a:solidFill>
          <a:schemeClr val="accent4"/>
        </a:solidFill>
        <a:effectLst/>
      </p:bgPr>
    </p:bg>
    <p:spTree>
      <p:nvGrpSpPr>
        <p:cNvPr id="1" name=""/>
        <p:cNvGrpSpPr/>
        <p:nvPr/>
      </p:nvGrpSpPr>
      <p:grpSpPr>
        <a:xfrm>
          <a:off x="0" y="0"/>
          <a:ext cx="0" cy="0"/>
          <a:chOff x="0" y="0"/>
          <a:chExt cx="0" cy="0"/>
        </a:xfrm>
      </p:grpSpPr>
      <p:grpSp>
        <p:nvGrpSpPr>
          <p:cNvPr id="34" name="Gruppieren 33"/>
          <p:cNvGrpSpPr/>
          <p:nvPr userDrawn="1"/>
        </p:nvGrpSpPr>
        <p:grpSpPr>
          <a:xfrm>
            <a:off x="-6448" y="2402525"/>
            <a:ext cx="5771162" cy="4458649"/>
            <a:chOff x="14692313" y="-1844675"/>
            <a:chExt cx="7050088" cy="5446713"/>
          </a:xfrm>
        </p:grpSpPr>
        <p:sp>
          <p:nvSpPr>
            <p:cNvPr id="35" name="Freeform 16"/>
            <p:cNvSpPr>
              <a:spLocks/>
            </p:cNvSpPr>
            <p:nvPr userDrawn="1"/>
          </p:nvSpPr>
          <p:spPr bwMode="auto">
            <a:xfrm>
              <a:off x="18045113" y="-461963"/>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1"/>
                    <a:pt x="100" y="0"/>
                    <a:pt x="0" y="0"/>
                  </a:cubicBezTo>
                  <a:cubicBezTo>
                    <a:pt x="0" y="23"/>
                    <a:pt x="0" y="23"/>
                    <a:pt x="0" y="23"/>
                  </a:cubicBezTo>
                  <a:cubicBezTo>
                    <a:pt x="87" y="23"/>
                    <a:pt x="158" y="94"/>
                    <a:pt x="158" y="181"/>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6" name="Rectangle 17"/>
            <p:cNvSpPr>
              <a:spLocks noChangeArrowheads="1"/>
            </p:cNvSpPr>
            <p:nvPr userDrawn="1"/>
          </p:nvSpPr>
          <p:spPr bwMode="auto">
            <a:xfrm>
              <a:off x="18007013" y="-1169988"/>
              <a:ext cx="73025" cy="388938"/>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7" name="Freeform 18"/>
            <p:cNvSpPr>
              <a:spLocks/>
            </p:cNvSpPr>
            <p:nvPr userDrawn="1"/>
          </p:nvSpPr>
          <p:spPr bwMode="auto">
            <a:xfrm>
              <a:off x="17110075" y="-822325"/>
              <a:ext cx="330200" cy="328613"/>
            </a:xfrm>
            <a:custGeom>
              <a:avLst/>
              <a:gdLst>
                <a:gd name="T0" fmla="*/ 208 w 208"/>
                <a:gd name="T1" fmla="*/ 175 h 207"/>
                <a:gd name="T2" fmla="*/ 32 w 208"/>
                <a:gd name="T3" fmla="*/ 0 h 207"/>
                <a:gd name="T4" fmla="*/ 0 w 208"/>
                <a:gd name="T5" fmla="*/ 34 h 207"/>
                <a:gd name="T6" fmla="*/ 174 w 208"/>
                <a:gd name="T7" fmla="*/ 207 h 207"/>
                <a:gd name="T8" fmla="*/ 208 w 208"/>
                <a:gd name="T9" fmla="*/ 175 h 207"/>
              </a:gdLst>
              <a:ahLst/>
              <a:cxnLst>
                <a:cxn ang="0">
                  <a:pos x="T0" y="T1"/>
                </a:cxn>
                <a:cxn ang="0">
                  <a:pos x="T2" y="T3"/>
                </a:cxn>
                <a:cxn ang="0">
                  <a:pos x="T4" y="T5"/>
                </a:cxn>
                <a:cxn ang="0">
                  <a:pos x="T6" y="T7"/>
                </a:cxn>
                <a:cxn ang="0">
                  <a:pos x="T8" y="T9"/>
                </a:cxn>
              </a:cxnLst>
              <a:rect l="0" t="0" r="r" b="b"/>
              <a:pathLst>
                <a:path w="208" h="207">
                  <a:moveTo>
                    <a:pt x="208" y="175"/>
                  </a:moveTo>
                  <a:lnTo>
                    <a:pt x="32" y="0"/>
                  </a:lnTo>
                  <a:lnTo>
                    <a:pt x="0" y="34"/>
                  </a:lnTo>
                  <a:lnTo>
                    <a:pt x="174" y="207"/>
                  </a:lnTo>
                  <a:lnTo>
                    <a:pt x="208" y="17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8" name="Rectangle 19"/>
            <p:cNvSpPr>
              <a:spLocks noChangeArrowheads="1"/>
            </p:cNvSpPr>
            <p:nvPr userDrawn="1"/>
          </p:nvSpPr>
          <p:spPr bwMode="auto">
            <a:xfrm>
              <a:off x="16759238" y="76200"/>
              <a:ext cx="392113"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9" name="Freeform 20"/>
            <p:cNvSpPr>
              <a:spLocks/>
            </p:cNvSpPr>
            <p:nvPr userDrawn="1"/>
          </p:nvSpPr>
          <p:spPr bwMode="auto">
            <a:xfrm>
              <a:off x="17110075" y="719137"/>
              <a:ext cx="330200" cy="325438"/>
            </a:xfrm>
            <a:custGeom>
              <a:avLst/>
              <a:gdLst>
                <a:gd name="T0" fmla="*/ 0 w 208"/>
                <a:gd name="T1" fmla="*/ 173 h 205"/>
                <a:gd name="T2" fmla="*/ 32 w 208"/>
                <a:gd name="T3" fmla="*/ 205 h 205"/>
                <a:gd name="T4" fmla="*/ 208 w 208"/>
                <a:gd name="T5" fmla="*/ 32 h 205"/>
                <a:gd name="T6" fmla="*/ 174 w 208"/>
                <a:gd name="T7" fmla="*/ 0 h 205"/>
                <a:gd name="T8" fmla="*/ 0 w 208"/>
                <a:gd name="T9" fmla="*/ 173 h 205"/>
              </a:gdLst>
              <a:ahLst/>
              <a:cxnLst>
                <a:cxn ang="0">
                  <a:pos x="T0" y="T1"/>
                </a:cxn>
                <a:cxn ang="0">
                  <a:pos x="T2" y="T3"/>
                </a:cxn>
                <a:cxn ang="0">
                  <a:pos x="T4" y="T5"/>
                </a:cxn>
                <a:cxn ang="0">
                  <a:pos x="T6" y="T7"/>
                </a:cxn>
                <a:cxn ang="0">
                  <a:pos x="T8" y="T9"/>
                </a:cxn>
              </a:cxnLst>
              <a:rect l="0" t="0" r="r" b="b"/>
              <a:pathLst>
                <a:path w="208" h="205">
                  <a:moveTo>
                    <a:pt x="0" y="173"/>
                  </a:moveTo>
                  <a:lnTo>
                    <a:pt x="32" y="205"/>
                  </a:lnTo>
                  <a:lnTo>
                    <a:pt x="208" y="32"/>
                  </a:lnTo>
                  <a:lnTo>
                    <a:pt x="174" y="0"/>
                  </a:lnTo>
                  <a:lnTo>
                    <a:pt x="0" y="173"/>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0" name="Freeform 21"/>
            <p:cNvSpPr>
              <a:spLocks/>
            </p:cNvSpPr>
            <p:nvPr userDrawn="1"/>
          </p:nvSpPr>
          <p:spPr bwMode="auto">
            <a:xfrm>
              <a:off x="18649950" y="-822325"/>
              <a:ext cx="328613" cy="328613"/>
            </a:xfrm>
            <a:custGeom>
              <a:avLst/>
              <a:gdLst>
                <a:gd name="T0" fmla="*/ 207 w 207"/>
                <a:gd name="T1" fmla="*/ 34 h 207"/>
                <a:gd name="T2" fmla="*/ 173 w 207"/>
                <a:gd name="T3" fmla="*/ 0 h 207"/>
                <a:gd name="T4" fmla="*/ 0 w 207"/>
                <a:gd name="T5" fmla="*/ 175 h 207"/>
                <a:gd name="T6" fmla="*/ 32 w 207"/>
                <a:gd name="T7" fmla="*/ 207 h 207"/>
                <a:gd name="T8" fmla="*/ 207 w 207"/>
                <a:gd name="T9" fmla="*/ 34 h 207"/>
              </a:gdLst>
              <a:ahLst/>
              <a:cxnLst>
                <a:cxn ang="0">
                  <a:pos x="T0" y="T1"/>
                </a:cxn>
                <a:cxn ang="0">
                  <a:pos x="T2" y="T3"/>
                </a:cxn>
                <a:cxn ang="0">
                  <a:pos x="T4" y="T5"/>
                </a:cxn>
                <a:cxn ang="0">
                  <a:pos x="T6" y="T7"/>
                </a:cxn>
                <a:cxn ang="0">
                  <a:pos x="T8" y="T9"/>
                </a:cxn>
              </a:cxnLst>
              <a:rect l="0" t="0" r="r" b="b"/>
              <a:pathLst>
                <a:path w="207" h="207">
                  <a:moveTo>
                    <a:pt x="207" y="34"/>
                  </a:moveTo>
                  <a:lnTo>
                    <a:pt x="173" y="0"/>
                  </a:lnTo>
                  <a:lnTo>
                    <a:pt x="0" y="175"/>
                  </a:lnTo>
                  <a:lnTo>
                    <a:pt x="32" y="207"/>
                  </a:lnTo>
                  <a:lnTo>
                    <a:pt x="207" y="34"/>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1" name="Rectangle 22"/>
            <p:cNvSpPr>
              <a:spLocks noChangeArrowheads="1"/>
            </p:cNvSpPr>
            <p:nvPr userDrawn="1"/>
          </p:nvSpPr>
          <p:spPr bwMode="auto">
            <a:xfrm>
              <a:off x="18937288" y="76200"/>
              <a:ext cx="388938"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2" name="Freeform 23"/>
            <p:cNvSpPr>
              <a:spLocks/>
            </p:cNvSpPr>
            <p:nvPr userDrawn="1"/>
          </p:nvSpPr>
          <p:spPr bwMode="auto">
            <a:xfrm>
              <a:off x="18649950" y="719137"/>
              <a:ext cx="328613" cy="325438"/>
            </a:xfrm>
            <a:custGeom>
              <a:avLst/>
              <a:gdLst>
                <a:gd name="T0" fmla="*/ 0 w 207"/>
                <a:gd name="T1" fmla="*/ 32 h 205"/>
                <a:gd name="T2" fmla="*/ 173 w 207"/>
                <a:gd name="T3" fmla="*/ 205 h 205"/>
                <a:gd name="T4" fmla="*/ 207 w 207"/>
                <a:gd name="T5" fmla="*/ 173 h 205"/>
                <a:gd name="T6" fmla="*/ 32 w 207"/>
                <a:gd name="T7" fmla="*/ 0 h 205"/>
                <a:gd name="T8" fmla="*/ 0 w 207"/>
                <a:gd name="T9" fmla="*/ 32 h 205"/>
              </a:gdLst>
              <a:ahLst/>
              <a:cxnLst>
                <a:cxn ang="0">
                  <a:pos x="T0" y="T1"/>
                </a:cxn>
                <a:cxn ang="0">
                  <a:pos x="T2" y="T3"/>
                </a:cxn>
                <a:cxn ang="0">
                  <a:pos x="T4" y="T5"/>
                </a:cxn>
                <a:cxn ang="0">
                  <a:pos x="T6" y="T7"/>
                </a:cxn>
                <a:cxn ang="0">
                  <a:pos x="T8" y="T9"/>
                </a:cxn>
              </a:cxnLst>
              <a:rect l="0" t="0" r="r" b="b"/>
              <a:pathLst>
                <a:path w="207" h="205">
                  <a:moveTo>
                    <a:pt x="0" y="32"/>
                  </a:moveTo>
                  <a:lnTo>
                    <a:pt x="173" y="205"/>
                  </a:lnTo>
                  <a:lnTo>
                    <a:pt x="207" y="173"/>
                  </a:lnTo>
                  <a:lnTo>
                    <a:pt x="32" y="0"/>
                  </a:lnTo>
                  <a:lnTo>
                    <a:pt x="0" y="32"/>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3" name="Freeform 24"/>
            <p:cNvSpPr>
              <a:spLocks noEditPoints="1"/>
            </p:cNvSpPr>
            <p:nvPr userDrawn="1"/>
          </p:nvSpPr>
          <p:spPr bwMode="auto">
            <a:xfrm>
              <a:off x="17249775" y="-679450"/>
              <a:ext cx="1585913" cy="1955800"/>
            </a:xfrm>
            <a:custGeom>
              <a:avLst/>
              <a:gdLst>
                <a:gd name="T0" fmla="*/ 383 w 501"/>
                <a:gd name="T1" fmla="*/ 588 h 618"/>
                <a:gd name="T2" fmla="*/ 440 w 501"/>
                <a:gd name="T3" fmla="*/ 415 h 618"/>
                <a:gd name="T4" fmla="*/ 501 w 501"/>
                <a:gd name="T5" fmla="*/ 250 h 618"/>
                <a:gd name="T6" fmla="*/ 251 w 501"/>
                <a:gd name="T7" fmla="*/ 0 h 618"/>
                <a:gd name="T8" fmla="*/ 0 w 501"/>
                <a:gd name="T9" fmla="*/ 250 h 618"/>
                <a:gd name="T10" fmla="*/ 62 w 501"/>
                <a:gd name="T11" fmla="*/ 415 h 618"/>
                <a:gd name="T12" fmla="*/ 119 w 501"/>
                <a:gd name="T13" fmla="*/ 588 h 618"/>
                <a:gd name="T14" fmla="*/ 149 w 501"/>
                <a:gd name="T15" fmla="*/ 618 h 618"/>
                <a:gd name="T16" fmla="*/ 353 w 501"/>
                <a:gd name="T17" fmla="*/ 618 h 618"/>
                <a:gd name="T18" fmla="*/ 383 w 501"/>
                <a:gd name="T19" fmla="*/ 588 h 618"/>
                <a:gd name="T20" fmla="*/ 142 w 501"/>
                <a:gd name="T21" fmla="*/ 588 h 618"/>
                <a:gd name="T22" fmla="*/ 79 w 501"/>
                <a:gd name="T23" fmla="*/ 400 h 618"/>
                <a:gd name="T24" fmla="*/ 23 w 501"/>
                <a:gd name="T25" fmla="*/ 250 h 618"/>
                <a:gd name="T26" fmla="*/ 251 w 501"/>
                <a:gd name="T27" fmla="*/ 23 h 618"/>
                <a:gd name="T28" fmla="*/ 478 w 501"/>
                <a:gd name="T29" fmla="*/ 250 h 618"/>
                <a:gd name="T30" fmla="*/ 422 w 501"/>
                <a:gd name="T31" fmla="*/ 399 h 618"/>
                <a:gd name="T32" fmla="*/ 360 w 501"/>
                <a:gd name="T33" fmla="*/ 588 h 618"/>
                <a:gd name="T34" fmla="*/ 353 w 501"/>
                <a:gd name="T35" fmla="*/ 595 h 618"/>
                <a:gd name="T36" fmla="*/ 149 w 501"/>
                <a:gd name="T37" fmla="*/ 595 h 618"/>
                <a:gd name="T38" fmla="*/ 142 w 501"/>
                <a:gd name="T39" fmla="*/ 58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618">
                  <a:moveTo>
                    <a:pt x="383" y="588"/>
                  </a:moveTo>
                  <a:cubicBezTo>
                    <a:pt x="383" y="479"/>
                    <a:pt x="439" y="416"/>
                    <a:pt x="440" y="415"/>
                  </a:cubicBezTo>
                  <a:cubicBezTo>
                    <a:pt x="479" y="369"/>
                    <a:pt x="501" y="311"/>
                    <a:pt x="501" y="250"/>
                  </a:cubicBezTo>
                  <a:cubicBezTo>
                    <a:pt x="501" y="112"/>
                    <a:pt x="389" y="0"/>
                    <a:pt x="251" y="0"/>
                  </a:cubicBezTo>
                  <a:cubicBezTo>
                    <a:pt x="113" y="0"/>
                    <a:pt x="0" y="112"/>
                    <a:pt x="0" y="250"/>
                  </a:cubicBezTo>
                  <a:cubicBezTo>
                    <a:pt x="0" y="311"/>
                    <a:pt x="22" y="369"/>
                    <a:pt x="62" y="415"/>
                  </a:cubicBezTo>
                  <a:cubicBezTo>
                    <a:pt x="63" y="416"/>
                    <a:pt x="119" y="479"/>
                    <a:pt x="119" y="588"/>
                  </a:cubicBezTo>
                  <a:cubicBezTo>
                    <a:pt x="119" y="605"/>
                    <a:pt x="131" y="618"/>
                    <a:pt x="149" y="618"/>
                  </a:cubicBezTo>
                  <a:cubicBezTo>
                    <a:pt x="353" y="618"/>
                    <a:pt x="353" y="618"/>
                    <a:pt x="353" y="618"/>
                  </a:cubicBezTo>
                  <a:cubicBezTo>
                    <a:pt x="370" y="618"/>
                    <a:pt x="383" y="605"/>
                    <a:pt x="383" y="588"/>
                  </a:cubicBezTo>
                  <a:close/>
                  <a:moveTo>
                    <a:pt x="142" y="588"/>
                  </a:moveTo>
                  <a:cubicBezTo>
                    <a:pt x="142" y="469"/>
                    <a:pt x="82" y="402"/>
                    <a:pt x="79" y="400"/>
                  </a:cubicBezTo>
                  <a:cubicBezTo>
                    <a:pt x="43" y="358"/>
                    <a:pt x="23" y="305"/>
                    <a:pt x="23" y="250"/>
                  </a:cubicBezTo>
                  <a:cubicBezTo>
                    <a:pt x="23" y="125"/>
                    <a:pt x="125" y="23"/>
                    <a:pt x="251" y="23"/>
                  </a:cubicBezTo>
                  <a:cubicBezTo>
                    <a:pt x="376" y="23"/>
                    <a:pt x="478" y="125"/>
                    <a:pt x="478" y="250"/>
                  </a:cubicBezTo>
                  <a:cubicBezTo>
                    <a:pt x="478" y="305"/>
                    <a:pt x="458" y="358"/>
                    <a:pt x="422" y="399"/>
                  </a:cubicBezTo>
                  <a:cubicBezTo>
                    <a:pt x="420" y="402"/>
                    <a:pt x="360" y="469"/>
                    <a:pt x="360" y="588"/>
                  </a:cubicBezTo>
                  <a:cubicBezTo>
                    <a:pt x="360" y="592"/>
                    <a:pt x="357" y="595"/>
                    <a:pt x="353" y="595"/>
                  </a:cubicBezTo>
                  <a:cubicBezTo>
                    <a:pt x="149" y="595"/>
                    <a:pt x="149" y="595"/>
                    <a:pt x="149" y="595"/>
                  </a:cubicBezTo>
                  <a:cubicBezTo>
                    <a:pt x="144" y="595"/>
                    <a:pt x="142" y="592"/>
                    <a:pt x="142" y="588"/>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4" name="Rectangle 25"/>
            <p:cNvSpPr>
              <a:spLocks noChangeArrowheads="1"/>
            </p:cNvSpPr>
            <p:nvPr userDrawn="1"/>
          </p:nvSpPr>
          <p:spPr bwMode="auto">
            <a:xfrm>
              <a:off x="17721263" y="1393825"/>
              <a:ext cx="642938" cy="73025"/>
            </a:xfrm>
            <a:prstGeom prst="rect">
              <a:avLst/>
            </a:prstGeom>
            <a:solidFill>
              <a:srgbClr val="10384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5" name="Freeform 26"/>
            <p:cNvSpPr>
              <a:spLocks/>
            </p:cNvSpPr>
            <p:nvPr userDrawn="1"/>
          </p:nvSpPr>
          <p:spPr bwMode="auto">
            <a:xfrm>
              <a:off x="14730413" y="1054100"/>
              <a:ext cx="2894013" cy="2547938"/>
            </a:xfrm>
            <a:custGeom>
              <a:avLst/>
              <a:gdLst>
                <a:gd name="T0" fmla="*/ 196 w 914"/>
                <a:gd name="T1" fmla="*/ 805 h 805"/>
                <a:gd name="T2" fmla="*/ 182 w 914"/>
                <a:gd name="T3" fmla="*/ 725 h 805"/>
                <a:gd name="T4" fmla="*/ 151 w 914"/>
                <a:gd name="T5" fmla="*/ 684 h 805"/>
                <a:gd name="T6" fmla="*/ 136 w 914"/>
                <a:gd name="T7" fmla="*/ 667 h 805"/>
                <a:gd name="T8" fmla="*/ 145 w 914"/>
                <a:gd name="T9" fmla="*/ 165 h 805"/>
                <a:gd name="T10" fmla="*/ 534 w 914"/>
                <a:gd name="T11" fmla="*/ 70 h 805"/>
                <a:gd name="T12" fmla="*/ 784 w 914"/>
                <a:gd name="T13" fmla="*/ 382 h 805"/>
                <a:gd name="T14" fmla="*/ 785 w 914"/>
                <a:gd name="T15" fmla="*/ 391 h 805"/>
                <a:gd name="T16" fmla="*/ 792 w 914"/>
                <a:gd name="T17" fmla="*/ 430 h 805"/>
                <a:gd name="T18" fmla="*/ 813 w 914"/>
                <a:gd name="T19" fmla="*/ 471 h 805"/>
                <a:gd name="T20" fmla="*/ 877 w 914"/>
                <a:gd name="T21" fmla="*/ 576 h 805"/>
                <a:gd name="T22" fmla="*/ 885 w 914"/>
                <a:gd name="T23" fmla="*/ 606 h 805"/>
                <a:gd name="T24" fmla="*/ 860 w 914"/>
                <a:gd name="T25" fmla="*/ 610 h 805"/>
                <a:gd name="T26" fmla="*/ 817 w 914"/>
                <a:gd name="T27" fmla="*/ 620 h 805"/>
                <a:gd name="T28" fmla="*/ 805 w 914"/>
                <a:gd name="T29" fmla="*/ 659 h 805"/>
                <a:gd name="T30" fmla="*/ 806 w 914"/>
                <a:gd name="T31" fmla="*/ 805 h 805"/>
                <a:gd name="T32" fmla="*/ 829 w 914"/>
                <a:gd name="T33" fmla="*/ 805 h 805"/>
                <a:gd name="T34" fmla="*/ 828 w 914"/>
                <a:gd name="T35" fmla="*/ 659 h 805"/>
                <a:gd name="T36" fmla="*/ 833 w 914"/>
                <a:gd name="T37" fmla="*/ 636 h 805"/>
                <a:gd name="T38" fmla="*/ 859 w 914"/>
                <a:gd name="T39" fmla="*/ 633 h 805"/>
                <a:gd name="T40" fmla="*/ 903 w 914"/>
                <a:gd name="T41" fmla="*/ 620 h 805"/>
                <a:gd name="T42" fmla="*/ 897 w 914"/>
                <a:gd name="T43" fmla="*/ 563 h 805"/>
                <a:gd name="T44" fmla="*/ 832 w 914"/>
                <a:gd name="T45" fmla="*/ 459 h 805"/>
                <a:gd name="T46" fmla="*/ 814 w 914"/>
                <a:gd name="T47" fmla="*/ 423 h 805"/>
                <a:gd name="T48" fmla="*/ 808 w 914"/>
                <a:gd name="T49" fmla="*/ 388 h 805"/>
                <a:gd name="T50" fmla="*/ 807 w 914"/>
                <a:gd name="T51" fmla="*/ 380 h 805"/>
                <a:gd name="T52" fmla="*/ 541 w 914"/>
                <a:gd name="T53" fmla="*/ 48 h 805"/>
                <a:gd name="T54" fmla="*/ 129 w 914"/>
                <a:gd name="T55" fmla="*/ 149 h 805"/>
                <a:gd name="T56" fmla="*/ 23 w 914"/>
                <a:gd name="T57" fmla="*/ 400 h 805"/>
                <a:gd name="T58" fmla="*/ 118 w 914"/>
                <a:gd name="T59" fmla="*/ 682 h 805"/>
                <a:gd name="T60" fmla="*/ 134 w 914"/>
                <a:gd name="T61" fmla="*/ 699 h 805"/>
                <a:gd name="T62" fmla="*/ 162 w 914"/>
                <a:gd name="T63" fmla="*/ 736 h 805"/>
                <a:gd name="T64" fmla="*/ 173 w 914"/>
                <a:gd name="T65" fmla="*/ 805 h 805"/>
                <a:gd name="T66" fmla="*/ 196 w 914"/>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4" h="805">
                  <a:moveTo>
                    <a:pt x="196" y="805"/>
                  </a:moveTo>
                  <a:cubicBezTo>
                    <a:pt x="199" y="775"/>
                    <a:pt x="194" y="748"/>
                    <a:pt x="182" y="725"/>
                  </a:cubicBezTo>
                  <a:cubicBezTo>
                    <a:pt x="173" y="709"/>
                    <a:pt x="163" y="697"/>
                    <a:pt x="151" y="684"/>
                  </a:cubicBezTo>
                  <a:cubicBezTo>
                    <a:pt x="146" y="679"/>
                    <a:pt x="141" y="673"/>
                    <a:pt x="136" y="667"/>
                  </a:cubicBezTo>
                  <a:cubicBezTo>
                    <a:pt x="0" y="508"/>
                    <a:pt x="31" y="280"/>
                    <a:pt x="145" y="165"/>
                  </a:cubicBezTo>
                  <a:cubicBezTo>
                    <a:pt x="248" y="62"/>
                    <a:pt x="400" y="25"/>
                    <a:pt x="534" y="70"/>
                  </a:cubicBezTo>
                  <a:cubicBezTo>
                    <a:pt x="666" y="115"/>
                    <a:pt x="769" y="244"/>
                    <a:pt x="784" y="382"/>
                  </a:cubicBezTo>
                  <a:cubicBezTo>
                    <a:pt x="785" y="385"/>
                    <a:pt x="785" y="388"/>
                    <a:pt x="785" y="391"/>
                  </a:cubicBezTo>
                  <a:cubicBezTo>
                    <a:pt x="786" y="404"/>
                    <a:pt x="788" y="417"/>
                    <a:pt x="792" y="430"/>
                  </a:cubicBezTo>
                  <a:cubicBezTo>
                    <a:pt x="797" y="445"/>
                    <a:pt x="805" y="458"/>
                    <a:pt x="813" y="471"/>
                  </a:cubicBezTo>
                  <a:cubicBezTo>
                    <a:pt x="877" y="576"/>
                    <a:pt x="877" y="576"/>
                    <a:pt x="877" y="576"/>
                  </a:cubicBezTo>
                  <a:cubicBezTo>
                    <a:pt x="884" y="586"/>
                    <a:pt x="890" y="599"/>
                    <a:pt x="885" y="606"/>
                  </a:cubicBezTo>
                  <a:cubicBezTo>
                    <a:pt x="881" y="611"/>
                    <a:pt x="873" y="610"/>
                    <a:pt x="860" y="610"/>
                  </a:cubicBezTo>
                  <a:cubicBezTo>
                    <a:pt x="846" y="609"/>
                    <a:pt x="829" y="608"/>
                    <a:pt x="817" y="620"/>
                  </a:cubicBezTo>
                  <a:cubicBezTo>
                    <a:pt x="805" y="631"/>
                    <a:pt x="805" y="649"/>
                    <a:pt x="805" y="659"/>
                  </a:cubicBezTo>
                  <a:cubicBezTo>
                    <a:pt x="806" y="805"/>
                    <a:pt x="806" y="805"/>
                    <a:pt x="806" y="805"/>
                  </a:cubicBezTo>
                  <a:cubicBezTo>
                    <a:pt x="829" y="805"/>
                    <a:pt x="829" y="805"/>
                    <a:pt x="829" y="805"/>
                  </a:cubicBezTo>
                  <a:cubicBezTo>
                    <a:pt x="828" y="659"/>
                    <a:pt x="828" y="659"/>
                    <a:pt x="828" y="659"/>
                  </a:cubicBezTo>
                  <a:cubicBezTo>
                    <a:pt x="828" y="650"/>
                    <a:pt x="829" y="641"/>
                    <a:pt x="833" y="636"/>
                  </a:cubicBezTo>
                  <a:cubicBezTo>
                    <a:pt x="838" y="632"/>
                    <a:pt x="848" y="632"/>
                    <a:pt x="859" y="633"/>
                  </a:cubicBezTo>
                  <a:cubicBezTo>
                    <a:pt x="873" y="634"/>
                    <a:pt x="891" y="635"/>
                    <a:pt x="903" y="620"/>
                  </a:cubicBezTo>
                  <a:cubicBezTo>
                    <a:pt x="914" y="607"/>
                    <a:pt x="912" y="587"/>
                    <a:pt x="897" y="563"/>
                  </a:cubicBezTo>
                  <a:cubicBezTo>
                    <a:pt x="832" y="459"/>
                    <a:pt x="832" y="459"/>
                    <a:pt x="832" y="459"/>
                  </a:cubicBezTo>
                  <a:cubicBezTo>
                    <a:pt x="825" y="447"/>
                    <a:pt x="818" y="435"/>
                    <a:pt x="814" y="423"/>
                  </a:cubicBezTo>
                  <a:cubicBezTo>
                    <a:pt x="810" y="412"/>
                    <a:pt x="809" y="401"/>
                    <a:pt x="808" y="388"/>
                  </a:cubicBezTo>
                  <a:cubicBezTo>
                    <a:pt x="808" y="386"/>
                    <a:pt x="808" y="383"/>
                    <a:pt x="807" y="380"/>
                  </a:cubicBezTo>
                  <a:cubicBezTo>
                    <a:pt x="791" y="230"/>
                    <a:pt x="684" y="97"/>
                    <a:pt x="541" y="48"/>
                  </a:cubicBezTo>
                  <a:cubicBezTo>
                    <a:pt x="400" y="0"/>
                    <a:pt x="238" y="40"/>
                    <a:pt x="129" y="149"/>
                  </a:cubicBezTo>
                  <a:cubicBezTo>
                    <a:pt x="67" y="211"/>
                    <a:pt x="28" y="303"/>
                    <a:pt x="23" y="400"/>
                  </a:cubicBezTo>
                  <a:cubicBezTo>
                    <a:pt x="18" y="504"/>
                    <a:pt x="52" y="604"/>
                    <a:pt x="118" y="682"/>
                  </a:cubicBezTo>
                  <a:cubicBezTo>
                    <a:pt x="124" y="688"/>
                    <a:pt x="129" y="694"/>
                    <a:pt x="134" y="699"/>
                  </a:cubicBezTo>
                  <a:cubicBezTo>
                    <a:pt x="145" y="713"/>
                    <a:pt x="154" y="722"/>
                    <a:pt x="162" y="736"/>
                  </a:cubicBezTo>
                  <a:cubicBezTo>
                    <a:pt x="172" y="756"/>
                    <a:pt x="176" y="779"/>
                    <a:pt x="173" y="805"/>
                  </a:cubicBezTo>
                  <a:lnTo>
                    <a:pt x="196" y="80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6" name="Freeform 27"/>
            <p:cNvSpPr>
              <a:spLocks/>
            </p:cNvSpPr>
            <p:nvPr userDrawn="1"/>
          </p:nvSpPr>
          <p:spPr bwMode="auto">
            <a:xfrm>
              <a:off x="14692313" y="-1844675"/>
              <a:ext cx="7050088" cy="5446713"/>
            </a:xfrm>
            <a:custGeom>
              <a:avLst/>
              <a:gdLst>
                <a:gd name="T0" fmla="*/ 1059 w 2227"/>
                <a:gd name="T1" fmla="*/ 23 h 1721"/>
                <a:gd name="T2" fmla="*/ 2204 w 2227"/>
                <a:gd name="T3" fmla="*/ 1168 h 1721"/>
                <a:gd name="T4" fmla="*/ 2061 w 2227"/>
                <a:gd name="T5" fmla="*/ 1721 h 1721"/>
                <a:gd name="T6" fmla="*/ 2087 w 2227"/>
                <a:gd name="T7" fmla="*/ 1721 h 1721"/>
                <a:gd name="T8" fmla="*/ 2227 w 2227"/>
                <a:gd name="T9" fmla="*/ 1168 h 1721"/>
                <a:gd name="T10" fmla="*/ 1059 w 2227"/>
                <a:gd name="T11" fmla="*/ 0 h 1721"/>
                <a:gd name="T12" fmla="*/ 0 w 2227"/>
                <a:gd name="T13" fmla="*/ 674 h 1721"/>
                <a:gd name="T14" fmla="*/ 0 w 2227"/>
                <a:gd name="T15" fmla="*/ 731 h 1721"/>
                <a:gd name="T16" fmla="*/ 1059 w 2227"/>
                <a:gd name="T17" fmla="*/ 23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7" h="1721">
                  <a:moveTo>
                    <a:pt x="1059" y="23"/>
                  </a:moveTo>
                  <a:cubicBezTo>
                    <a:pt x="1690" y="23"/>
                    <a:pt x="2204" y="537"/>
                    <a:pt x="2204" y="1168"/>
                  </a:cubicBezTo>
                  <a:cubicBezTo>
                    <a:pt x="2204" y="1368"/>
                    <a:pt x="2152" y="1557"/>
                    <a:pt x="2061" y="1721"/>
                  </a:cubicBezTo>
                  <a:cubicBezTo>
                    <a:pt x="2087" y="1721"/>
                    <a:pt x="2087" y="1721"/>
                    <a:pt x="2087" y="1721"/>
                  </a:cubicBezTo>
                  <a:cubicBezTo>
                    <a:pt x="2176" y="1556"/>
                    <a:pt x="2227" y="1368"/>
                    <a:pt x="2227" y="1168"/>
                  </a:cubicBezTo>
                  <a:cubicBezTo>
                    <a:pt x="2227" y="524"/>
                    <a:pt x="1703" y="0"/>
                    <a:pt x="1059" y="0"/>
                  </a:cubicBezTo>
                  <a:cubicBezTo>
                    <a:pt x="591" y="0"/>
                    <a:pt x="187" y="276"/>
                    <a:pt x="0" y="674"/>
                  </a:cubicBezTo>
                  <a:cubicBezTo>
                    <a:pt x="0" y="731"/>
                    <a:pt x="0" y="731"/>
                    <a:pt x="0" y="731"/>
                  </a:cubicBezTo>
                  <a:cubicBezTo>
                    <a:pt x="172" y="316"/>
                    <a:pt x="582" y="23"/>
                    <a:pt x="1059" y="23"/>
                  </a:cubicBez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7" name="Freeform 28"/>
            <p:cNvSpPr>
              <a:spLocks/>
            </p:cNvSpPr>
            <p:nvPr userDrawn="1"/>
          </p:nvSpPr>
          <p:spPr bwMode="auto">
            <a:xfrm>
              <a:off x="14692313" y="3232150"/>
              <a:ext cx="179388" cy="369888"/>
            </a:xfrm>
            <a:custGeom>
              <a:avLst/>
              <a:gdLst>
                <a:gd name="T0" fmla="*/ 57 w 57"/>
                <a:gd name="T1" fmla="*/ 117 h 117"/>
                <a:gd name="T2" fmla="*/ 0 w 57"/>
                <a:gd name="T3" fmla="*/ 0 h 117"/>
                <a:gd name="T4" fmla="*/ 0 w 57"/>
                <a:gd name="T5" fmla="*/ 58 h 117"/>
                <a:gd name="T6" fmla="*/ 30 w 57"/>
                <a:gd name="T7" fmla="*/ 117 h 117"/>
                <a:gd name="T8" fmla="*/ 57 w 57"/>
                <a:gd name="T9" fmla="*/ 117 h 117"/>
              </a:gdLst>
              <a:ahLst/>
              <a:cxnLst>
                <a:cxn ang="0">
                  <a:pos x="T0" y="T1"/>
                </a:cxn>
                <a:cxn ang="0">
                  <a:pos x="T2" y="T3"/>
                </a:cxn>
                <a:cxn ang="0">
                  <a:pos x="T4" y="T5"/>
                </a:cxn>
                <a:cxn ang="0">
                  <a:pos x="T6" y="T7"/>
                </a:cxn>
                <a:cxn ang="0">
                  <a:pos x="T8" y="T9"/>
                </a:cxn>
              </a:cxnLst>
              <a:rect l="0" t="0" r="r" b="b"/>
              <a:pathLst>
                <a:path w="57" h="117">
                  <a:moveTo>
                    <a:pt x="57" y="117"/>
                  </a:moveTo>
                  <a:cubicBezTo>
                    <a:pt x="36" y="79"/>
                    <a:pt x="17" y="41"/>
                    <a:pt x="0" y="0"/>
                  </a:cubicBezTo>
                  <a:cubicBezTo>
                    <a:pt x="0" y="58"/>
                    <a:pt x="0" y="58"/>
                    <a:pt x="0" y="58"/>
                  </a:cubicBezTo>
                  <a:cubicBezTo>
                    <a:pt x="10" y="78"/>
                    <a:pt x="20" y="98"/>
                    <a:pt x="30" y="117"/>
                  </a:cubicBezTo>
                  <a:lnTo>
                    <a:pt x="57" y="117"/>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8" name="Freeform 29"/>
            <p:cNvSpPr>
              <a:spLocks/>
            </p:cNvSpPr>
            <p:nvPr userDrawn="1"/>
          </p:nvSpPr>
          <p:spPr bwMode="auto">
            <a:xfrm>
              <a:off x="18465800" y="1054100"/>
              <a:ext cx="2890838" cy="2547938"/>
            </a:xfrm>
            <a:custGeom>
              <a:avLst/>
              <a:gdLst>
                <a:gd name="T0" fmla="*/ 108 w 913"/>
                <a:gd name="T1" fmla="*/ 805 h 805"/>
                <a:gd name="T2" fmla="*/ 108 w 913"/>
                <a:gd name="T3" fmla="*/ 659 h 805"/>
                <a:gd name="T4" fmla="*/ 97 w 913"/>
                <a:gd name="T5" fmla="*/ 620 h 805"/>
                <a:gd name="T6" fmla="*/ 54 w 913"/>
                <a:gd name="T7" fmla="*/ 610 h 805"/>
                <a:gd name="T8" fmla="*/ 29 w 913"/>
                <a:gd name="T9" fmla="*/ 606 h 805"/>
                <a:gd name="T10" fmla="*/ 36 w 913"/>
                <a:gd name="T11" fmla="*/ 576 h 805"/>
                <a:gd name="T12" fmla="*/ 101 w 913"/>
                <a:gd name="T13" fmla="*/ 471 h 805"/>
                <a:gd name="T14" fmla="*/ 122 w 913"/>
                <a:gd name="T15" fmla="*/ 430 h 805"/>
                <a:gd name="T16" fmla="*/ 128 w 913"/>
                <a:gd name="T17" fmla="*/ 391 h 805"/>
                <a:gd name="T18" fmla="*/ 129 w 913"/>
                <a:gd name="T19" fmla="*/ 382 h 805"/>
                <a:gd name="T20" fmla="*/ 380 w 913"/>
                <a:gd name="T21" fmla="*/ 70 h 805"/>
                <a:gd name="T22" fmla="*/ 768 w 913"/>
                <a:gd name="T23" fmla="*/ 165 h 805"/>
                <a:gd name="T24" fmla="*/ 778 w 913"/>
                <a:gd name="T25" fmla="*/ 667 h 805"/>
                <a:gd name="T26" fmla="*/ 763 w 913"/>
                <a:gd name="T27" fmla="*/ 684 h 805"/>
                <a:gd name="T28" fmla="*/ 732 w 913"/>
                <a:gd name="T29" fmla="*/ 725 h 805"/>
                <a:gd name="T30" fmla="*/ 717 w 913"/>
                <a:gd name="T31" fmla="*/ 805 h 805"/>
                <a:gd name="T32" fmla="*/ 740 w 913"/>
                <a:gd name="T33" fmla="*/ 805 h 805"/>
                <a:gd name="T34" fmla="*/ 752 w 913"/>
                <a:gd name="T35" fmla="*/ 736 h 805"/>
                <a:gd name="T36" fmla="*/ 780 w 913"/>
                <a:gd name="T37" fmla="*/ 699 h 805"/>
                <a:gd name="T38" fmla="*/ 796 w 913"/>
                <a:gd name="T39" fmla="*/ 682 h 805"/>
                <a:gd name="T40" fmla="*/ 890 w 913"/>
                <a:gd name="T41" fmla="*/ 400 h 805"/>
                <a:gd name="T42" fmla="*/ 785 w 913"/>
                <a:gd name="T43" fmla="*/ 149 h 805"/>
                <a:gd name="T44" fmla="*/ 372 w 913"/>
                <a:gd name="T45" fmla="*/ 48 h 805"/>
                <a:gd name="T46" fmla="*/ 106 w 913"/>
                <a:gd name="T47" fmla="*/ 380 h 805"/>
                <a:gd name="T48" fmla="*/ 105 w 913"/>
                <a:gd name="T49" fmla="*/ 388 h 805"/>
                <a:gd name="T50" fmla="*/ 100 w 913"/>
                <a:gd name="T51" fmla="*/ 423 h 805"/>
                <a:gd name="T52" fmla="*/ 81 w 913"/>
                <a:gd name="T53" fmla="*/ 459 h 805"/>
                <a:gd name="T54" fmla="*/ 16 w 913"/>
                <a:gd name="T55" fmla="*/ 563 h 805"/>
                <a:gd name="T56" fmla="*/ 11 w 913"/>
                <a:gd name="T57" fmla="*/ 620 h 805"/>
                <a:gd name="T58" fmla="*/ 55 w 913"/>
                <a:gd name="T59" fmla="*/ 633 h 805"/>
                <a:gd name="T60" fmla="*/ 81 w 913"/>
                <a:gd name="T61" fmla="*/ 636 h 805"/>
                <a:gd name="T62" fmla="*/ 85 w 913"/>
                <a:gd name="T63" fmla="*/ 659 h 805"/>
                <a:gd name="T64" fmla="*/ 85 w 913"/>
                <a:gd name="T65" fmla="*/ 805 h 805"/>
                <a:gd name="T66" fmla="*/ 108 w 913"/>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3" h="805">
                  <a:moveTo>
                    <a:pt x="108" y="805"/>
                  </a:moveTo>
                  <a:cubicBezTo>
                    <a:pt x="108" y="659"/>
                    <a:pt x="108" y="659"/>
                    <a:pt x="108" y="659"/>
                  </a:cubicBezTo>
                  <a:cubicBezTo>
                    <a:pt x="108" y="649"/>
                    <a:pt x="109" y="631"/>
                    <a:pt x="97" y="620"/>
                  </a:cubicBezTo>
                  <a:cubicBezTo>
                    <a:pt x="85" y="608"/>
                    <a:pt x="67" y="609"/>
                    <a:pt x="54" y="610"/>
                  </a:cubicBezTo>
                  <a:cubicBezTo>
                    <a:pt x="41" y="610"/>
                    <a:pt x="33" y="611"/>
                    <a:pt x="29" y="606"/>
                  </a:cubicBezTo>
                  <a:cubicBezTo>
                    <a:pt x="24" y="599"/>
                    <a:pt x="30" y="586"/>
                    <a:pt x="36" y="576"/>
                  </a:cubicBezTo>
                  <a:cubicBezTo>
                    <a:pt x="101" y="471"/>
                    <a:pt x="101" y="471"/>
                    <a:pt x="101" y="471"/>
                  </a:cubicBezTo>
                  <a:cubicBezTo>
                    <a:pt x="109" y="458"/>
                    <a:pt x="117" y="445"/>
                    <a:pt x="122" y="430"/>
                  </a:cubicBezTo>
                  <a:cubicBezTo>
                    <a:pt x="126" y="417"/>
                    <a:pt x="127" y="404"/>
                    <a:pt x="128" y="391"/>
                  </a:cubicBezTo>
                  <a:cubicBezTo>
                    <a:pt x="129" y="388"/>
                    <a:pt x="129" y="385"/>
                    <a:pt x="129" y="382"/>
                  </a:cubicBezTo>
                  <a:cubicBezTo>
                    <a:pt x="145" y="244"/>
                    <a:pt x="247" y="115"/>
                    <a:pt x="380" y="70"/>
                  </a:cubicBezTo>
                  <a:cubicBezTo>
                    <a:pt x="513" y="25"/>
                    <a:pt x="666" y="62"/>
                    <a:pt x="768" y="165"/>
                  </a:cubicBezTo>
                  <a:cubicBezTo>
                    <a:pt x="882" y="280"/>
                    <a:pt x="913" y="508"/>
                    <a:pt x="778" y="667"/>
                  </a:cubicBezTo>
                  <a:cubicBezTo>
                    <a:pt x="772" y="673"/>
                    <a:pt x="767" y="679"/>
                    <a:pt x="763" y="684"/>
                  </a:cubicBezTo>
                  <a:cubicBezTo>
                    <a:pt x="751" y="697"/>
                    <a:pt x="740" y="709"/>
                    <a:pt x="732" y="725"/>
                  </a:cubicBezTo>
                  <a:cubicBezTo>
                    <a:pt x="719" y="748"/>
                    <a:pt x="715" y="775"/>
                    <a:pt x="717" y="805"/>
                  </a:cubicBezTo>
                  <a:cubicBezTo>
                    <a:pt x="740" y="805"/>
                    <a:pt x="740" y="805"/>
                    <a:pt x="740" y="805"/>
                  </a:cubicBezTo>
                  <a:cubicBezTo>
                    <a:pt x="738" y="779"/>
                    <a:pt x="742" y="756"/>
                    <a:pt x="752" y="736"/>
                  </a:cubicBezTo>
                  <a:cubicBezTo>
                    <a:pt x="759" y="722"/>
                    <a:pt x="768" y="713"/>
                    <a:pt x="780" y="699"/>
                  </a:cubicBezTo>
                  <a:cubicBezTo>
                    <a:pt x="785" y="694"/>
                    <a:pt x="790" y="688"/>
                    <a:pt x="796" y="682"/>
                  </a:cubicBezTo>
                  <a:cubicBezTo>
                    <a:pt x="862" y="604"/>
                    <a:pt x="895" y="504"/>
                    <a:pt x="890" y="400"/>
                  </a:cubicBezTo>
                  <a:cubicBezTo>
                    <a:pt x="886" y="303"/>
                    <a:pt x="847" y="211"/>
                    <a:pt x="785" y="149"/>
                  </a:cubicBezTo>
                  <a:cubicBezTo>
                    <a:pt x="676" y="40"/>
                    <a:pt x="514" y="0"/>
                    <a:pt x="372" y="48"/>
                  </a:cubicBezTo>
                  <a:cubicBezTo>
                    <a:pt x="230" y="97"/>
                    <a:pt x="123" y="230"/>
                    <a:pt x="106" y="380"/>
                  </a:cubicBezTo>
                  <a:cubicBezTo>
                    <a:pt x="106" y="383"/>
                    <a:pt x="106" y="386"/>
                    <a:pt x="105" y="388"/>
                  </a:cubicBezTo>
                  <a:cubicBezTo>
                    <a:pt x="104" y="401"/>
                    <a:pt x="103" y="412"/>
                    <a:pt x="100" y="423"/>
                  </a:cubicBezTo>
                  <a:cubicBezTo>
                    <a:pt x="96" y="435"/>
                    <a:pt x="88" y="447"/>
                    <a:pt x="81" y="459"/>
                  </a:cubicBezTo>
                  <a:cubicBezTo>
                    <a:pt x="16" y="563"/>
                    <a:pt x="16" y="563"/>
                    <a:pt x="16" y="563"/>
                  </a:cubicBezTo>
                  <a:cubicBezTo>
                    <a:pt x="2" y="587"/>
                    <a:pt x="0" y="607"/>
                    <a:pt x="11" y="620"/>
                  </a:cubicBezTo>
                  <a:cubicBezTo>
                    <a:pt x="22" y="635"/>
                    <a:pt x="40" y="634"/>
                    <a:pt x="55" y="633"/>
                  </a:cubicBezTo>
                  <a:cubicBezTo>
                    <a:pt x="66" y="632"/>
                    <a:pt x="76" y="632"/>
                    <a:pt x="81" y="636"/>
                  </a:cubicBezTo>
                  <a:cubicBezTo>
                    <a:pt x="85" y="641"/>
                    <a:pt x="85" y="650"/>
                    <a:pt x="85" y="659"/>
                  </a:cubicBezTo>
                  <a:cubicBezTo>
                    <a:pt x="85" y="805"/>
                    <a:pt x="85" y="805"/>
                    <a:pt x="85" y="805"/>
                  </a:cubicBezTo>
                  <a:lnTo>
                    <a:pt x="108" y="805"/>
                  </a:lnTo>
                  <a:close/>
                </a:path>
              </a:pathLst>
            </a:custGeom>
            <a:solidFill>
              <a:srgbClr val="1038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32" name="Rechteck 27"/>
          <p:cNvSpPr/>
          <p:nvPr userDrawn="1"/>
        </p:nvSpPr>
        <p:spPr bwMode="gray">
          <a:xfrm>
            <a:off x="4741764" y="5"/>
            <a:ext cx="2007788" cy="6858001"/>
          </a:xfrm>
          <a:custGeom>
            <a:avLst/>
            <a:gdLst/>
            <a:ahLst/>
            <a:cxnLst/>
            <a:rect l="l" t="t" r="r" b="b"/>
            <a:pathLst>
              <a:path w="2007788" h="6858001">
                <a:moveTo>
                  <a:pt x="1651966" y="0"/>
                </a:moveTo>
                <a:lnTo>
                  <a:pt x="2007788" y="0"/>
                </a:lnTo>
                <a:lnTo>
                  <a:pt x="355822" y="6858000"/>
                </a:lnTo>
                <a:lnTo>
                  <a:pt x="0" y="685800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14" name="Picture Placeholder 12"/>
          <p:cNvSpPr>
            <a:spLocks noGrp="1"/>
          </p:cNvSpPr>
          <p:nvPr>
            <p:ph type="pic" sz="quarter" idx="14" hasCustomPrompt="1"/>
          </p:nvPr>
        </p:nvSpPr>
        <p:spPr bwMode="gray">
          <a:xfrm>
            <a:off x="5099397" y="-2379"/>
            <a:ext cx="5739896" cy="6861811"/>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 name="connsiteX0" fmla="*/ 1341581 w 8131850"/>
              <a:gd name="connsiteY0" fmla="*/ 0 h 6858000"/>
              <a:gd name="connsiteX1" fmla="*/ 8112573 w 8131850"/>
              <a:gd name="connsiteY1" fmla="*/ 0 h 6858000"/>
              <a:gd name="connsiteX2" fmla="*/ 3275459 w 8131850"/>
              <a:gd name="connsiteY2" fmla="*/ 6858000 h 6858000"/>
              <a:gd name="connsiteX3" fmla="*/ 0 w 8131850"/>
              <a:gd name="connsiteY3" fmla="*/ 6858000 h 6858000"/>
              <a:gd name="connsiteX4" fmla="*/ 1341581 w 8131850"/>
              <a:gd name="connsiteY4" fmla="*/ 0 h 6858000"/>
              <a:gd name="connsiteX0" fmla="*/ 1341581 w 8147282"/>
              <a:gd name="connsiteY0" fmla="*/ 0 h 6880860"/>
              <a:gd name="connsiteX1" fmla="*/ 8112573 w 8147282"/>
              <a:gd name="connsiteY1" fmla="*/ 0 h 6880860"/>
              <a:gd name="connsiteX2" fmla="*/ 5089019 w 8147282"/>
              <a:gd name="connsiteY2" fmla="*/ 6880860 h 6880860"/>
              <a:gd name="connsiteX3" fmla="*/ 0 w 8147282"/>
              <a:gd name="connsiteY3" fmla="*/ 6858000 h 6880860"/>
              <a:gd name="connsiteX4" fmla="*/ 1341581 w 8147282"/>
              <a:gd name="connsiteY4" fmla="*/ 0 h 6880860"/>
              <a:gd name="connsiteX0" fmla="*/ 1341581 w 8134469"/>
              <a:gd name="connsiteY0" fmla="*/ 0 h 6880860"/>
              <a:gd name="connsiteX1" fmla="*/ 8112573 w 8134469"/>
              <a:gd name="connsiteY1" fmla="*/ 0 h 6880860"/>
              <a:gd name="connsiteX2" fmla="*/ 5089019 w 8134469"/>
              <a:gd name="connsiteY2" fmla="*/ 6880860 h 6880860"/>
              <a:gd name="connsiteX3" fmla="*/ 0 w 8134469"/>
              <a:gd name="connsiteY3" fmla="*/ 6858000 h 6880860"/>
              <a:gd name="connsiteX4" fmla="*/ 1341581 w 8134469"/>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1341581 w 6763833"/>
              <a:gd name="connsiteY4" fmla="*/ 7620 h 6888480"/>
              <a:gd name="connsiteX0" fmla="*/ 2315513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2315513 w 6763833"/>
              <a:gd name="connsiteY4" fmla="*/ 7620 h 6888480"/>
              <a:gd name="connsiteX0" fmla="*/ 2315513 w 6761452"/>
              <a:gd name="connsiteY0" fmla="*/ 476 h 6881336"/>
              <a:gd name="connsiteX1" fmla="*/ 6761452 w 6761452"/>
              <a:gd name="connsiteY1" fmla="*/ 0 h 6881336"/>
              <a:gd name="connsiteX2" fmla="*/ 5089019 w 6761452"/>
              <a:gd name="connsiteY2" fmla="*/ 6881336 h 6881336"/>
              <a:gd name="connsiteX3" fmla="*/ 0 w 6761452"/>
              <a:gd name="connsiteY3" fmla="*/ 6858476 h 6881336"/>
              <a:gd name="connsiteX4" fmla="*/ 2315513 w 6761452"/>
              <a:gd name="connsiteY4" fmla="*/ 476 h 6881336"/>
              <a:gd name="connsiteX0" fmla="*/ 2315513 w 6761452"/>
              <a:gd name="connsiteY0" fmla="*/ 476 h 6859905"/>
              <a:gd name="connsiteX1" fmla="*/ 6761452 w 6761452"/>
              <a:gd name="connsiteY1" fmla="*/ 0 h 6859905"/>
              <a:gd name="connsiteX2" fmla="*/ 5112831 w 6761452"/>
              <a:gd name="connsiteY2" fmla="*/ 6859905 h 6859905"/>
              <a:gd name="connsiteX3" fmla="*/ 0 w 6761452"/>
              <a:gd name="connsiteY3" fmla="*/ 6858476 h 6859905"/>
              <a:gd name="connsiteX4" fmla="*/ 2315513 w 6761452"/>
              <a:gd name="connsiteY4" fmla="*/ 476 h 6859905"/>
              <a:gd name="connsiteX0" fmla="*/ 1293957 w 5739896"/>
              <a:gd name="connsiteY0" fmla="*/ 476 h 6859905"/>
              <a:gd name="connsiteX1" fmla="*/ 5739896 w 5739896"/>
              <a:gd name="connsiteY1" fmla="*/ 0 h 6859905"/>
              <a:gd name="connsiteX2" fmla="*/ 4091275 w 5739896"/>
              <a:gd name="connsiteY2" fmla="*/ 6859905 h 6859905"/>
              <a:gd name="connsiteX3" fmla="*/ 0 w 5739896"/>
              <a:gd name="connsiteY3" fmla="*/ 6858476 h 6859905"/>
              <a:gd name="connsiteX4" fmla="*/ 1293957 w 5739896"/>
              <a:gd name="connsiteY4" fmla="*/ 476 h 6859905"/>
              <a:gd name="connsiteX0" fmla="*/ 1644001 w 5739896"/>
              <a:gd name="connsiteY0" fmla="*/ 0 h 6861811"/>
              <a:gd name="connsiteX1" fmla="*/ 5739896 w 5739896"/>
              <a:gd name="connsiteY1" fmla="*/ 1906 h 6861811"/>
              <a:gd name="connsiteX2" fmla="*/ 4091275 w 5739896"/>
              <a:gd name="connsiteY2" fmla="*/ 6861811 h 6861811"/>
              <a:gd name="connsiteX3" fmla="*/ 0 w 5739896"/>
              <a:gd name="connsiteY3" fmla="*/ 6860382 h 6861811"/>
              <a:gd name="connsiteX4" fmla="*/ 1644001 w 5739896"/>
              <a:gd name="connsiteY4" fmla="*/ 0 h 6861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896" h="6861811">
                <a:moveTo>
                  <a:pt x="1644001" y="0"/>
                </a:moveTo>
                <a:lnTo>
                  <a:pt x="5739896" y="1906"/>
                </a:lnTo>
                <a:lnTo>
                  <a:pt x="4091275" y="6861811"/>
                </a:lnTo>
                <a:lnTo>
                  <a:pt x="0" y="6860382"/>
                </a:lnTo>
                <a:lnTo>
                  <a:pt x="1644001" y="0"/>
                </a:lnTo>
                <a:close/>
              </a:path>
            </a:pathLst>
          </a:custGeom>
          <a:solidFill>
            <a:schemeClr val="bg1">
              <a:lumMod val="85000"/>
            </a:schemeClr>
          </a:solidFill>
        </p:spPr>
        <p:txBody>
          <a:bodyPr wrap="square" tIns="539992" anchor="ctr">
            <a:noAutofit/>
          </a:bodyPr>
          <a:lstStyle>
            <a:lvl1pPr algn="ctr">
              <a:defRPr sz="1400"/>
            </a:lvl1pPr>
          </a:lstStyle>
          <a:p>
            <a:r>
              <a:rPr lang="de-DE" dirty="0"/>
              <a:t>Insert </a:t>
            </a:r>
            <a:r>
              <a:rPr lang="de-DE" dirty="0" err="1"/>
              <a:t>picture</a:t>
            </a:r>
            <a:endParaRPr lang="de-DE" dirty="0"/>
          </a:p>
        </p:txBody>
      </p:sp>
      <p:sp>
        <p:nvSpPr>
          <p:cNvPr id="3" name="Subtitle 2"/>
          <p:cNvSpPr>
            <a:spLocks noGrp="1"/>
          </p:cNvSpPr>
          <p:nvPr>
            <p:ph type="subTitle" idx="1" hasCustomPrompt="1"/>
          </p:nvPr>
        </p:nvSpPr>
        <p:spPr bwMode="black">
          <a:xfrm>
            <a:off x="486000" y="439200"/>
            <a:ext cx="4186800" cy="392400"/>
          </a:xfrm>
        </p:spPr>
        <p:txBody>
          <a:bodyPr anchor="t"/>
          <a:lstStyle>
            <a:lvl1pPr marL="0" indent="0" algn="l">
              <a:buNone/>
              <a:defRPr sz="16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dirty="0"/>
              <a:t>Innovation</a:t>
            </a:r>
            <a:endParaRPr lang="en-US" dirty="0"/>
          </a:p>
        </p:txBody>
      </p:sp>
      <p:sp>
        <p:nvSpPr>
          <p:cNvPr id="2" name="Title 1"/>
          <p:cNvSpPr>
            <a:spLocks noGrp="1"/>
          </p:cNvSpPr>
          <p:nvPr>
            <p:ph type="ctrTitle" hasCustomPrompt="1"/>
          </p:nvPr>
        </p:nvSpPr>
        <p:spPr bwMode="black">
          <a:xfrm>
            <a:off x="486000" y="831600"/>
            <a:ext cx="4186800" cy="1396800"/>
          </a:xfrm>
        </p:spPr>
        <p:txBody>
          <a:bodyPr anchor="t"/>
          <a:lstStyle>
            <a:lvl1pPr>
              <a:defRPr sz="3600" b="1" i="0">
                <a:solidFill>
                  <a:srgbClr val="104862"/>
                </a:solidFill>
              </a:defRPr>
            </a:lvl1pPr>
          </a:lstStyle>
          <a:p>
            <a:r>
              <a:rPr lang="de-DE" dirty="0" err="1"/>
              <a:t>Presentation</a:t>
            </a:r>
            <a:r>
              <a:rPr lang="de-DE" dirty="0"/>
              <a:t> Title</a:t>
            </a:r>
            <a:endParaRPr lang="en-US" dirty="0"/>
          </a:p>
        </p:txBody>
      </p:sp>
      <p:grpSp>
        <p:nvGrpSpPr>
          <p:cNvPr id="12" name="Group 219"/>
          <p:cNvGrpSpPr>
            <a:grpSpLocks noChangeAspect="1"/>
          </p:cNvGrpSpPr>
          <p:nvPr userDrawn="1"/>
        </p:nvGrpSpPr>
        <p:grpSpPr bwMode="gray">
          <a:xfrm>
            <a:off x="11106108" y="436516"/>
            <a:ext cx="587892" cy="589010"/>
            <a:chOff x="6936" y="180"/>
            <a:chExt cx="526" cy="527"/>
          </a:xfrm>
          <a:solidFill>
            <a:schemeClr val="bg1"/>
          </a:solidFill>
        </p:grpSpPr>
        <p:sp>
          <p:nvSpPr>
            <p:cNvPr id="13"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4"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5"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6"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66" name="Rechteck 6"/>
          <p:cNvSpPr/>
          <p:nvPr userDrawn="1"/>
        </p:nvSpPr>
        <p:spPr bwMode="gray">
          <a:xfrm rot="960000">
            <a:off x="5574865" y="-146532"/>
            <a:ext cx="41291" cy="7148691"/>
          </a:xfrm>
          <a:custGeom>
            <a:avLst/>
            <a:gdLst/>
            <a:ahLst/>
            <a:cxnLst/>
            <a:rect l="l" t="t" r="r" b="b"/>
            <a:pathLst>
              <a:path w="41291" h="7148691">
                <a:moveTo>
                  <a:pt x="0" y="11840"/>
                </a:moveTo>
                <a:lnTo>
                  <a:pt x="41291" y="0"/>
                </a:lnTo>
                <a:lnTo>
                  <a:pt x="41291" y="7136851"/>
                </a:lnTo>
                <a:lnTo>
                  <a:pt x="0" y="714869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241430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_3">
    <p:bg>
      <p:bgPr>
        <a:solidFill>
          <a:schemeClr val="accent6"/>
        </a:solidFill>
        <a:effectLst/>
      </p:bgPr>
    </p:bg>
    <p:spTree>
      <p:nvGrpSpPr>
        <p:cNvPr id="1" name=""/>
        <p:cNvGrpSpPr/>
        <p:nvPr/>
      </p:nvGrpSpPr>
      <p:grpSpPr>
        <a:xfrm>
          <a:off x="0" y="0"/>
          <a:ext cx="0" cy="0"/>
          <a:chOff x="0" y="0"/>
          <a:chExt cx="0" cy="0"/>
        </a:xfrm>
      </p:grpSpPr>
      <p:grpSp>
        <p:nvGrpSpPr>
          <p:cNvPr id="34" name="Gruppieren 33"/>
          <p:cNvGrpSpPr/>
          <p:nvPr userDrawn="1"/>
        </p:nvGrpSpPr>
        <p:grpSpPr>
          <a:xfrm>
            <a:off x="-6448" y="2402525"/>
            <a:ext cx="5771162" cy="4458649"/>
            <a:chOff x="14692313" y="-1844675"/>
            <a:chExt cx="7050088" cy="5446713"/>
          </a:xfrm>
          <a:solidFill>
            <a:schemeClr val="bg1"/>
          </a:solidFill>
        </p:grpSpPr>
        <p:sp>
          <p:nvSpPr>
            <p:cNvPr id="35" name="Freeform 16"/>
            <p:cNvSpPr>
              <a:spLocks/>
            </p:cNvSpPr>
            <p:nvPr userDrawn="1"/>
          </p:nvSpPr>
          <p:spPr bwMode="auto">
            <a:xfrm>
              <a:off x="18045113" y="-461963"/>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1"/>
                    <a:pt x="100" y="0"/>
                    <a:pt x="0" y="0"/>
                  </a:cubicBezTo>
                  <a:cubicBezTo>
                    <a:pt x="0" y="23"/>
                    <a:pt x="0" y="23"/>
                    <a:pt x="0" y="23"/>
                  </a:cubicBezTo>
                  <a:cubicBezTo>
                    <a:pt x="87" y="23"/>
                    <a:pt x="158" y="94"/>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6" name="Rectangle 17"/>
            <p:cNvSpPr>
              <a:spLocks noChangeArrowheads="1"/>
            </p:cNvSpPr>
            <p:nvPr userDrawn="1"/>
          </p:nvSpPr>
          <p:spPr bwMode="auto">
            <a:xfrm>
              <a:off x="18007013" y="-1169988"/>
              <a:ext cx="73025" cy="388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7" name="Freeform 18"/>
            <p:cNvSpPr>
              <a:spLocks/>
            </p:cNvSpPr>
            <p:nvPr userDrawn="1"/>
          </p:nvSpPr>
          <p:spPr bwMode="auto">
            <a:xfrm>
              <a:off x="17110075" y="-822325"/>
              <a:ext cx="330200" cy="328613"/>
            </a:xfrm>
            <a:custGeom>
              <a:avLst/>
              <a:gdLst>
                <a:gd name="T0" fmla="*/ 208 w 208"/>
                <a:gd name="T1" fmla="*/ 175 h 207"/>
                <a:gd name="T2" fmla="*/ 32 w 208"/>
                <a:gd name="T3" fmla="*/ 0 h 207"/>
                <a:gd name="T4" fmla="*/ 0 w 208"/>
                <a:gd name="T5" fmla="*/ 34 h 207"/>
                <a:gd name="T6" fmla="*/ 174 w 208"/>
                <a:gd name="T7" fmla="*/ 207 h 207"/>
                <a:gd name="T8" fmla="*/ 208 w 208"/>
                <a:gd name="T9" fmla="*/ 175 h 207"/>
              </a:gdLst>
              <a:ahLst/>
              <a:cxnLst>
                <a:cxn ang="0">
                  <a:pos x="T0" y="T1"/>
                </a:cxn>
                <a:cxn ang="0">
                  <a:pos x="T2" y="T3"/>
                </a:cxn>
                <a:cxn ang="0">
                  <a:pos x="T4" y="T5"/>
                </a:cxn>
                <a:cxn ang="0">
                  <a:pos x="T6" y="T7"/>
                </a:cxn>
                <a:cxn ang="0">
                  <a:pos x="T8" y="T9"/>
                </a:cxn>
              </a:cxnLst>
              <a:rect l="0" t="0" r="r" b="b"/>
              <a:pathLst>
                <a:path w="208" h="207">
                  <a:moveTo>
                    <a:pt x="208" y="175"/>
                  </a:moveTo>
                  <a:lnTo>
                    <a:pt x="32" y="0"/>
                  </a:lnTo>
                  <a:lnTo>
                    <a:pt x="0" y="34"/>
                  </a:lnTo>
                  <a:lnTo>
                    <a:pt x="174" y="207"/>
                  </a:lnTo>
                  <a:lnTo>
                    <a:pt x="208"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8" name="Rectangle 19"/>
            <p:cNvSpPr>
              <a:spLocks noChangeArrowheads="1"/>
            </p:cNvSpPr>
            <p:nvPr userDrawn="1"/>
          </p:nvSpPr>
          <p:spPr bwMode="auto">
            <a:xfrm>
              <a:off x="16759238" y="76200"/>
              <a:ext cx="392113"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9" name="Freeform 20"/>
            <p:cNvSpPr>
              <a:spLocks/>
            </p:cNvSpPr>
            <p:nvPr userDrawn="1"/>
          </p:nvSpPr>
          <p:spPr bwMode="auto">
            <a:xfrm>
              <a:off x="17110075" y="719137"/>
              <a:ext cx="330200" cy="325438"/>
            </a:xfrm>
            <a:custGeom>
              <a:avLst/>
              <a:gdLst>
                <a:gd name="T0" fmla="*/ 0 w 208"/>
                <a:gd name="T1" fmla="*/ 173 h 205"/>
                <a:gd name="T2" fmla="*/ 32 w 208"/>
                <a:gd name="T3" fmla="*/ 205 h 205"/>
                <a:gd name="T4" fmla="*/ 208 w 208"/>
                <a:gd name="T5" fmla="*/ 32 h 205"/>
                <a:gd name="T6" fmla="*/ 174 w 208"/>
                <a:gd name="T7" fmla="*/ 0 h 205"/>
                <a:gd name="T8" fmla="*/ 0 w 208"/>
                <a:gd name="T9" fmla="*/ 173 h 205"/>
              </a:gdLst>
              <a:ahLst/>
              <a:cxnLst>
                <a:cxn ang="0">
                  <a:pos x="T0" y="T1"/>
                </a:cxn>
                <a:cxn ang="0">
                  <a:pos x="T2" y="T3"/>
                </a:cxn>
                <a:cxn ang="0">
                  <a:pos x="T4" y="T5"/>
                </a:cxn>
                <a:cxn ang="0">
                  <a:pos x="T6" y="T7"/>
                </a:cxn>
                <a:cxn ang="0">
                  <a:pos x="T8" y="T9"/>
                </a:cxn>
              </a:cxnLst>
              <a:rect l="0" t="0" r="r" b="b"/>
              <a:pathLst>
                <a:path w="208" h="205">
                  <a:moveTo>
                    <a:pt x="0" y="173"/>
                  </a:moveTo>
                  <a:lnTo>
                    <a:pt x="32" y="205"/>
                  </a:lnTo>
                  <a:lnTo>
                    <a:pt x="208" y="32"/>
                  </a:lnTo>
                  <a:lnTo>
                    <a:pt x="174" y="0"/>
                  </a:lnTo>
                  <a:lnTo>
                    <a:pt x="0"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0" name="Freeform 21"/>
            <p:cNvSpPr>
              <a:spLocks/>
            </p:cNvSpPr>
            <p:nvPr userDrawn="1"/>
          </p:nvSpPr>
          <p:spPr bwMode="auto">
            <a:xfrm>
              <a:off x="18649950" y="-822325"/>
              <a:ext cx="328613" cy="328613"/>
            </a:xfrm>
            <a:custGeom>
              <a:avLst/>
              <a:gdLst>
                <a:gd name="T0" fmla="*/ 207 w 207"/>
                <a:gd name="T1" fmla="*/ 34 h 207"/>
                <a:gd name="T2" fmla="*/ 173 w 207"/>
                <a:gd name="T3" fmla="*/ 0 h 207"/>
                <a:gd name="T4" fmla="*/ 0 w 207"/>
                <a:gd name="T5" fmla="*/ 175 h 207"/>
                <a:gd name="T6" fmla="*/ 32 w 207"/>
                <a:gd name="T7" fmla="*/ 207 h 207"/>
                <a:gd name="T8" fmla="*/ 207 w 207"/>
                <a:gd name="T9" fmla="*/ 34 h 207"/>
              </a:gdLst>
              <a:ahLst/>
              <a:cxnLst>
                <a:cxn ang="0">
                  <a:pos x="T0" y="T1"/>
                </a:cxn>
                <a:cxn ang="0">
                  <a:pos x="T2" y="T3"/>
                </a:cxn>
                <a:cxn ang="0">
                  <a:pos x="T4" y="T5"/>
                </a:cxn>
                <a:cxn ang="0">
                  <a:pos x="T6" y="T7"/>
                </a:cxn>
                <a:cxn ang="0">
                  <a:pos x="T8" y="T9"/>
                </a:cxn>
              </a:cxnLst>
              <a:rect l="0" t="0" r="r" b="b"/>
              <a:pathLst>
                <a:path w="207" h="207">
                  <a:moveTo>
                    <a:pt x="207" y="34"/>
                  </a:moveTo>
                  <a:lnTo>
                    <a:pt x="173" y="0"/>
                  </a:lnTo>
                  <a:lnTo>
                    <a:pt x="0" y="175"/>
                  </a:lnTo>
                  <a:lnTo>
                    <a:pt x="32" y="207"/>
                  </a:lnTo>
                  <a:lnTo>
                    <a:pt x="20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1" name="Rectangle 22"/>
            <p:cNvSpPr>
              <a:spLocks noChangeArrowheads="1"/>
            </p:cNvSpPr>
            <p:nvPr userDrawn="1"/>
          </p:nvSpPr>
          <p:spPr bwMode="auto">
            <a:xfrm>
              <a:off x="18937288" y="76200"/>
              <a:ext cx="388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2" name="Freeform 23"/>
            <p:cNvSpPr>
              <a:spLocks/>
            </p:cNvSpPr>
            <p:nvPr userDrawn="1"/>
          </p:nvSpPr>
          <p:spPr bwMode="auto">
            <a:xfrm>
              <a:off x="18649950" y="719137"/>
              <a:ext cx="328613" cy="325438"/>
            </a:xfrm>
            <a:custGeom>
              <a:avLst/>
              <a:gdLst>
                <a:gd name="T0" fmla="*/ 0 w 207"/>
                <a:gd name="T1" fmla="*/ 32 h 205"/>
                <a:gd name="T2" fmla="*/ 173 w 207"/>
                <a:gd name="T3" fmla="*/ 205 h 205"/>
                <a:gd name="T4" fmla="*/ 207 w 207"/>
                <a:gd name="T5" fmla="*/ 173 h 205"/>
                <a:gd name="T6" fmla="*/ 32 w 207"/>
                <a:gd name="T7" fmla="*/ 0 h 205"/>
                <a:gd name="T8" fmla="*/ 0 w 207"/>
                <a:gd name="T9" fmla="*/ 32 h 205"/>
              </a:gdLst>
              <a:ahLst/>
              <a:cxnLst>
                <a:cxn ang="0">
                  <a:pos x="T0" y="T1"/>
                </a:cxn>
                <a:cxn ang="0">
                  <a:pos x="T2" y="T3"/>
                </a:cxn>
                <a:cxn ang="0">
                  <a:pos x="T4" y="T5"/>
                </a:cxn>
                <a:cxn ang="0">
                  <a:pos x="T6" y="T7"/>
                </a:cxn>
                <a:cxn ang="0">
                  <a:pos x="T8" y="T9"/>
                </a:cxn>
              </a:cxnLst>
              <a:rect l="0" t="0" r="r" b="b"/>
              <a:pathLst>
                <a:path w="207" h="205">
                  <a:moveTo>
                    <a:pt x="0" y="32"/>
                  </a:moveTo>
                  <a:lnTo>
                    <a:pt x="173" y="205"/>
                  </a:lnTo>
                  <a:lnTo>
                    <a:pt x="207" y="173"/>
                  </a:lnTo>
                  <a:lnTo>
                    <a:pt x="32" y="0"/>
                  </a:lnTo>
                  <a:lnTo>
                    <a:pt x="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3" name="Freeform 24"/>
            <p:cNvSpPr>
              <a:spLocks noEditPoints="1"/>
            </p:cNvSpPr>
            <p:nvPr userDrawn="1"/>
          </p:nvSpPr>
          <p:spPr bwMode="auto">
            <a:xfrm>
              <a:off x="17249775" y="-679450"/>
              <a:ext cx="1585913" cy="1955800"/>
            </a:xfrm>
            <a:custGeom>
              <a:avLst/>
              <a:gdLst>
                <a:gd name="T0" fmla="*/ 383 w 501"/>
                <a:gd name="T1" fmla="*/ 588 h 618"/>
                <a:gd name="T2" fmla="*/ 440 w 501"/>
                <a:gd name="T3" fmla="*/ 415 h 618"/>
                <a:gd name="T4" fmla="*/ 501 w 501"/>
                <a:gd name="T5" fmla="*/ 250 h 618"/>
                <a:gd name="T6" fmla="*/ 251 w 501"/>
                <a:gd name="T7" fmla="*/ 0 h 618"/>
                <a:gd name="T8" fmla="*/ 0 w 501"/>
                <a:gd name="T9" fmla="*/ 250 h 618"/>
                <a:gd name="T10" fmla="*/ 62 w 501"/>
                <a:gd name="T11" fmla="*/ 415 h 618"/>
                <a:gd name="T12" fmla="*/ 119 w 501"/>
                <a:gd name="T13" fmla="*/ 588 h 618"/>
                <a:gd name="T14" fmla="*/ 149 w 501"/>
                <a:gd name="T15" fmla="*/ 618 h 618"/>
                <a:gd name="T16" fmla="*/ 353 w 501"/>
                <a:gd name="T17" fmla="*/ 618 h 618"/>
                <a:gd name="T18" fmla="*/ 383 w 501"/>
                <a:gd name="T19" fmla="*/ 588 h 618"/>
                <a:gd name="T20" fmla="*/ 142 w 501"/>
                <a:gd name="T21" fmla="*/ 588 h 618"/>
                <a:gd name="T22" fmla="*/ 79 w 501"/>
                <a:gd name="T23" fmla="*/ 400 h 618"/>
                <a:gd name="T24" fmla="*/ 23 w 501"/>
                <a:gd name="T25" fmla="*/ 250 h 618"/>
                <a:gd name="T26" fmla="*/ 251 w 501"/>
                <a:gd name="T27" fmla="*/ 23 h 618"/>
                <a:gd name="T28" fmla="*/ 478 w 501"/>
                <a:gd name="T29" fmla="*/ 250 h 618"/>
                <a:gd name="T30" fmla="*/ 422 w 501"/>
                <a:gd name="T31" fmla="*/ 399 h 618"/>
                <a:gd name="T32" fmla="*/ 360 w 501"/>
                <a:gd name="T33" fmla="*/ 588 h 618"/>
                <a:gd name="T34" fmla="*/ 353 w 501"/>
                <a:gd name="T35" fmla="*/ 595 h 618"/>
                <a:gd name="T36" fmla="*/ 149 w 501"/>
                <a:gd name="T37" fmla="*/ 595 h 618"/>
                <a:gd name="T38" fmla="*/ 142 w 501"/>
                <a:gd name="T39" fmla="*/ 58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618">
                  <a:moveTo>
                    <a:pt x="383" y="588"/>
                  </a:moveTo>
                  <a:cubicBezTo>
                    <a:pt x="383" y="479"/>
                    <a:pt x="439" y="416"/>
                    <a:pt x="440" y="415"/>
                  </a:cubicBezTo>
                  <a:cubicBezTo>
                    <a:pt x="479" y="369"/>
                    <a:pt x="501" y="311"/>
                    <a:pt x="501" y="250"/>
                  </a:cubicBezTo>
                  <a:cubicBezTo>
                    <a:pt x="501" y="112"/>
                    <a:pt x="389" y="0"/>
                    <a:pt x="251" y="0"/>
                  </a:cubicBezTo>
                  <a:cubicBezTo>
                    <a:pt x="113" y="0"/>
                    <a:pt x="0" y="112"/>
                    <a:pt x="0" y="250"/>
                  </a:cubicBezTo>
                  <a:cubicBezTo>
                    <a:pt x="0" y="311"/>
                    <a:pt x="22" y="369"/>
                    <a:pt x="62" y="415"/>
                  </a:cubicBezTo>
                  <a:cubicBezTo>
                    <a:pt x="63" y="416"/>
                    <a:pt x="119" y="479"/>
                    <a:pt x="119" y="588"/>
                  </a:cubicBezTo>
                  <a:cubicBezTo>
                    <a:pt x="119" y="605"/>
                    <a:pt x="131" y="618"/>
                    <a:pt x="149" y="618"/>
                  </a:cubicBezTo>
                  <a:cubicBezTo>
                    <a:pt x="353" y="618"/>
                    <a:pt x="353" y="618"/>
                    <a:pt x="353" y="618"/>
                  </a:cubicBezTo>
                  <a:cubicBezTo>
                    <a:pt x="370" y="618"/>
                    <a:pt x="383" y="605"/>
                    <a:pt x="383" y="588"/>
                  </a:cubicBezTo>
                  <a:close/>
                  <a:moveTo>
                    <a:pt x="142" y="588"/>
                  </a:moveTo>
                  <a:cubicBezTo>
                    <a:pt x="142" y="469"/>
                    <a:pt x="82" y="402"/>
                    <a:pt x="79" y="400"/>
                  </a:cubicBezTo>
                  <a:cubicBezTo>
                    <a:pt x="43" y="358"/>
                    <a:pt x="23" y="305"/>
                    <a:pt x="23" y="250"/>
                  </a:cubicBezTo>
                  <a:cubicBezTo>
                    <a:pt x="23" y="125"/>
                    <a:pt x="125" y="23"/>
                    <a:pt x="251" y="23"/>
                  </a:cubicBezTo>
                  <a:cubicBezTo>
                    <a:pt x="376" y="23"/>
                    <a:pt x="478" y="125"/>
                    <a:pt x="478" y="250"/>
                  </a:cubicBezTo>
                  <a:cubicBezTo>
                    <a:pt x="478" y="305"/>
                    <a:pt x="458" y="358"/>
                    <a:pt x="422" y="399"/>
                  </a:cubicBezTo>
                  <a:cubicBezTo>
                    <a:pt x="420" y="402"/>
                    <a:pt x="360" y="469"/>
                    <a:pt x="360" y="588"/>
                  </a:cubicBezTo>
                  <a:cubicBezTo>
                    <a:pt x="360" y="592"/>
                    <a:pt x="357" y="595"/>
                    <a:pt x="353" y="595"/>
                  </a:cubicBezTo>
                  <a:cubicBezTo>
                    <a:pt x="149" y="595"/>
                    <a:pt x="149" y="595"/>
                    <a:pt x="149" y="595"/>
                  </a:cubicBezTo>
                  <a:cubicBezTo>
                    <a:pt x="144" y="595"/>
                    <a:pt x="142" y="592"/>
                    <a:pt x="142"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4" name="Rectangle 25"/>
            <p:cNvSpPr>
              <a:spLocks noChangeArrowheads="1"/>
            </p:cNvSpPr>
            <p:nvPr userDrawn="1"/>
          </p:nvSpPr>
          <p:spPr bwMode="auto">
            <a:xfrm>
              <a:off x="17721263" y="1393825"/>
              <a:ext cx="642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5" name="Freeform 26"/>
            <p:cNvSpPr>
              <a:spLocks/>
            </p:cNvSpPr>
            <p:nvPr userDrawn="1"/>
          </p:nvSpPr>
          <p:spPr bwMode="auto">
            <a:xfrm>
              <a:off x="14730413" y="1054100"/>
              <a:ext cx="2894013" cy="2547938"/>
            </a:xfrm>
            <a:custGeom>
              <a:avLst/>
              <a:gdLst>
                <a:gd name="T0" fmla="*/ 196 w 914"/>
                <a:gd name="T1" fmla="*/ 805 h 805"/>
                <a:gd name="T2" fmla="*/ 182 w 914"/>
                <a:gd name="T3" fmla="*/ 725 h 805"/>
                <a:gd name="T4" fmla="*/ 151 w 914"/>
                <a:gd name="T5" fmla="*/ 684 h 805"/>
                <a:gd name="T6" fmla="*/ 136 w 914"/>
                <a:gd name="T7" fmla="*/ 667 h 805"/>
                <a:gd name="T8" fmla="*/ 145 w 914"/>
                <a:gd name="T9" fmla="*/ 165 h 805"/>
                <a:gd name="T10" fmla="*/ 534 w 914"/>
                <a:gd name="T11" fmla="*/ 70 h 805"/>
                <a:gd name="T12" fmla="*/ 784 w 914"/>
                <a:gd name="T13" fmla="*/ 382 h 805"/>
                <a:gd name="T14" fmla="*/ 785 w 914"/>
                <a:gd name="T15" fmla="*/ 391 h 805"/>
                <a:gd name="T16" fmla="*/ 792 w 914"/>
                <a:gd name="T17" fmla="*/ 430 h 805"/>
                <a:gd name="T18" fmla="*/ 813 w 914"/>
                <a:gd name="T19" fmla="*/ 471 h 805"/>
                <a:gd name="T20" fmla="*/ 877 w 914"/>
                <a:gd name="T21" fmla="*/ 576 h 805"/>
                <a:gd name="T22" fmla="*/ 885 w 914"/>
                <a:gd name="T23" fmla="*/ 606 h 805"/>
                <a:gd name="T24" fmla="*/ 860 w 914"/>
                <a:gd name="T25" fmla="*/ 610 h 805"/>
                <a:gd name="T26" fmla="*/ 817 w 914"/>
                <a:gd name="T27" fmla="*/ 620 h 805"/>
                <a:gd name="T28" fmla="*/ 805 w 914"/>
                <a:gd name="T29" fmla="*/ 659 h 805"/>
                <a:gd name="T30" fmla="*/ 806 w 914"/>
                <a:gd name="T31" fmla="*/ 805 h 805"/>
                <a:gd name="T32" fmla="*/ 829 w 914"/>
                <a:gd name="T33" fmla="*/ 805 h 805"/>
                <a:gd name="T34" fmla="*/ 828 w 914"/>
                <a:gd name="T35" fmla="*/ 659 h 805"/>
                <a:gd name="T36" fmla="*/ 833 w 914"/>
                <a:gd name="T37" fmla="*/ 636 h 805"/>
                <a:gd name="T38" fmla="*/ 859 w 914"/>
                <a:gd name="T39" fmla="*/ 633 h 805"/>
                <a:gd name="T40" fmla="*/ 903 w 914"/>
                <a:gd name="T41" fmla="*/ 620 h 805"/>
                <a:gd name="T42" fmla="*/ 897 w 914"/>
                <a:gd name="T43" fmla="*/ 563 h 805"/>
                <a:gd name="T44" fmla="*/ 832 w 914"/>
                <a:gd name="T45" fmla="*/ 459 h 805"/>
                <a:gd name="T46" fmla="*/ 814 w 914"/>
                <a:gd name="T47" fmla="*/ 423 h 805"/>
                <a:gd name="T48" fmla="*/ 808 w 914"/>
                <a:gd name="T49" fmla="*/ 388 h 805"/>
                <a:gd name="T50" fmla="*/ 807 w 914"/>
                <a:gd name="T51" fmla="*/ 380 h 805"/>
                <a:gd name="T52" fmla="*/ 541 w 914"/>
                <a:gd name="T53" fmla="*/ 48 h 805"/>
                <a:gd name="T54" fmla="*/ 129 w 914"/>
                <a:gd name="T55" fmla="*/ 149 h 805"/>
                <a:gd name="T56" fmla="*/ 23 w 914"/>
                <a:gd name="T57" fmla="*/ 400 h 805"/>
                <a:gd name="T58" fmla="*/ 118 w 914"/>
                <a:gd name="T59" fmla="*/ 682 h 805"/>
                <a:gd name="T60" fmla="*/ 134 w 914"/>
                <a:gd name="T61" fmla="*/ 699 h 805"/>
                <a:gd name="T62" fmla="*/ 162 w 914"/>
                <a:gd name="T63" fmla="*/ 736 h 805"/>
                <a:gd name="T64" fmla="*/ 173 w 914"/>
                <a:gd name="T65" fmla="*/ 805 h 805"/>
                <a:gd name="T66" fmla="*/ 196 w 914"/>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4" h="805">
                  <a:moveTo>
                    <a:pt x="196" y="805"/>
                  </a:moveTo>
                  <a:cubicBezTo>
                    <a:pt x="199" y="775"/>
                    <a:pt x="194" y="748"/>
                    <a:pt x="182" y="725"/>
                  </a:cubicBezTo>
                  <a:cubicBezTo>
                    <a:pt x="173" y="709"/>
                    <a:pt x="163" y="697"/>
                    <a:pt x="151" y="684"/>
                  </a:cubicBezTo>
                  <a:cubicBezTo>
                    <a:pt x="146" y="679"/>
                    <a:pt x="141" y="673"/>
                    <a:pt x="136" y="667"/>
                  </a:cubicBezTo>
                  <a:cubicBezTo>
                    <a:pt x="0" y="508"/>
                    <a:pt x="31" y="280"/>
                    <a:pt x="145" y="165"/>
                  </a:cubicBezTo>
                  <a:cubicBezTo>
                    <a:pt x="248" y="62"/>
                    <a:pt x="400" y="25"/>
                    <a:pt x="534" y="70"/>
                  </a:cubicBezTo>
                  <a:cubicBezTo>
                    <a:pt x="666" y="115"/>
                    <a:pt x="769" y="244"/>
                    <a:pt x="784" y="382"/>
                  </a:cubicBezTo>
                  <a:cubicBezTo>
                    <a:pt x="785" y="385"/>
                    <a:pt x="785" y="388"/>
                    <a:pt x="785" y="391"/>
                  </a:cubicBezTo>
                  <a:cubicBezTo>
                    <a:pt x="786" y="404"/>
                    <a:pt x="788" y="417"/>
                    <a:pt x="792" y="430"/>
                  </a:cubicBezTo>
                  <a:cubicBezTo>
                    <a:pt x="797" y="445"/>
                    <a:pt x="805" y="458"/>
                    <a:pt x="813" y="471"/>
                  </a:cubicBezTo>
                  <a:cubicBezTo>
                    <a:pt x="877" y="576"/>
                    <a:pt x="877" y="576"/>
                    <a:pt x="877" y="576"/>
                  </a:cubicBezTo>
                  <a:cubicBezTo>
                    <a:pt x="884" y="586"/>
                    <a:pt x="890" y="599"/>
                    <a:pt x="885" y="606"/>
                  </a:cubicBezTo>
                  <a:cubicBezTo>
                    <a:pt x="881" y="611"/>
                    <a:pt x="873" y="610"/>
                    <a:pt x="860" y="610"/>
                  </a:cubicBezTo>
                  <a:cubicBezTo>
                    <a:pt x="846" y="609"/>
                    <a:pt x="829" y="608"/>
                    <a:pt x="817" y="620"/>
                  </a:cubicBezTo>
                  <a:cubicBezTo>
                    <a:pt x="805" y="631"/>
                    <a:pt x="805" y="649"/>
                    <a:pt x="805" y="659"/>
                  </a:cubicBezTo>
                  <a:cubicBezTo>
                    <a:pt x="806" y="805"/>
                    <a:pt x="806" y="805"/>
                    <a:pt x="806" y="805"/>
                  </a:cubicBezTo>
                  <a:cubicBezTo>
                    <a:pt x="829" y="805"/>
                    <a:pt x="829" y="805"/>
                    <a:pt x="829" y="805"/>
                  </a:cubicBezTo>
                  <a:cubicBezTo>
                    <a:pt x="828" y="659"/>
                    <a:pt x="828" y="659"/>
                    <a:pt x="828" y="659"/>
                  </a:cubicBezTo>
                  <a:cubicBezTo>
                    <a:pt x="828" y="650"/>
                    <a:pt x="829" y="641"/>
                    <a:pt x="833" y="636"/>
                  </a:cubicBezTo>
                  <a:cubicBezTo>
                    <a:pt x="838" y="632"/>
                    <a:pt x="848" y="632"/>
                    <a:pt x="859" y="633"/>
                  </a:cubicBezTo>
                  <a:cubicBezTo>
                    <a:pt x="873" y="634"/>
                    <a:pt x="891" y="635"/>
                    <a:pt x="903" y="620"/>
                  </a:cubicBezTo>
                  <a:cubicBezTo>
                    <a:pt x="914" y="607"/>
                    <a:pt x="912" y="587"/>
                    <a:pt x="897" y="563"/>
                  </a:cubicBezTo>
                  <a:cubicBezTo>
                    <a:pt x="832" y="459"/>
                    <a:pt x="832" y="459"/>
                    <a:pt x="832" y="459"/>
                  </a:cubicBezTo>
                  <a:cubicBezTo>
                    <a:pt x="825" y="447"/>
                    <a:pt x="818" y="435"/>
                    <a:pt x="814" y="423"/>
                  </a:cubicBezTo>
                  <a:cubicBezTo>
                    <a:pt x="810" y="412"/>
                    <a:pt x="809" y="401"/>
                    <a:pt x="808" y="388"/>
                  </a:cubicBezTo>
                  <a:cubicBezTo>
                    <a:pt x="808" y="386"/>
                    <a:pt x="808" y="383"/>
                    <a:pt x="807" y="380"/>
                  </a:cubicBezTo>
                  <a:cubicBezTo>
                    <a:pt x="791" y="230"/>
                    <a:pt x="684" y="97"/>
                    <a:pt x="541" y="48"/>
                  </a:cubicBezTo>
                  <a:cubicBezTo>
                    <a:pt x="400" y="0"/>
                    <a:pt x="238" y="40"/>
                    <a:pt x="129" y="149"/>
                  </a:cubicBezTo>
                  <a:cubicBezTo>
                    <a:pt x="67" y="211"/>
                    <a:pt x="28" y="303"/>
                    <a:pt x="23" y="400"/>
                  </a:cubicBezTo>
                  <a:cubicBezTo>
                    <a:pt x="18" y="504"/>
                    <a:pt x="52" y="604"/>
                    <a:pt x="118" y="682"/>
                  </a:cubicBezTo>
                  <a:cubicBezTo>
                    <a:pt x="124" y="688"/>
                    <a:pt x="129" y="694"/>
                    <a:pt x="134" y="699"/>
                  </a:cubicBezTo>
                  <a:cubicBezTo>
                    <a:pt x="145" y="713"/>
                    <a:pt x="154" y="722"/>
                    <a:pt x="162" y="736"/>
                  </a:cubicBezTo>
                  <a:cubicBezTo>
                    <a:pt x="172" y="756"/>
                    <a:pt x="176" y="779"/>
                    <a:pt x="173" y="805"/>
                  </a:cubicBezTo>
                  <a:lnTo>
                    <a:pt x="196"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6" name="Freeform 27"/>
            <p:cNvSpPr>
              <a:spLocks/>
            </p:cNvSpPr>
            <p:nvPr userDrawn="1"/>
          </p:nvSpPr>
          <p:spPr bwMode="auto">
            <a:xfrm>
              <a:off x="14692313" y="-1844675"/>
              <a:ext cx="7050088" cy="5446713"/>
            </a:xfrm>
            <a:custGeom>
              <a:avLst/>
              <a:gdLst>
                <a:gd name="T0" fmla="*/ 1059 w 2227"/>
                <a:gd name="T1" fmla="*/ 23 h 1721"/>
                <a:gd name="T2" fmla="*/ 2204 w 2227"/>
                <a:gd name="T3" fmla="*/ 1168 h 1721"/>
                <a:gd name="T4" fmla="*/ 2061 w 2227"/>
                <a:gd name="T5" fmla="*/ 1721 h 1721"/>
                <a:gd name="T6" fmla="*/ 2087 w 2227"/>
                <a:gd name="T7" fmla="*/ 1721 h 1721"/>
                <a:gd name="T8" fmla="*/ 2227 w 2227"/>
                <a:gd name="T9" fmla="*/ 1168 h 1721"/>
                <a:gd name="T10" fmla="*/ 1059 w 2227"/>
                <a:gd name="T11" fmla="*/ 0 h 1721"/>
                <a:gd name="T12" fmla="*/ 0 w 2227"/>
                <a:gd name="T13" fmla="*/ 674 h 1721"/>
                <a:gd name="T14" fmla="*/ 0 w 2227"/>
                <a:gd name="T15" fmla="*/ 731 h 1721"/>
                <a:gd name="T16" fmla="*/ 1059 w 2227"/>
                <a:gd name="T17" fmla="*/ 23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7" h="1721">
                  <a:moveTo>
                    <a:pt x="1059" y="23"/>
                  </a:moveTo>
                  <a:cubicBezTo>
                    <a:pt x="1690" y="23"/>
                    <a:pt x="2204" y="537"/>
                    <a:pt x="2204" y="1168"/>
                  </a:cubicBezTo>
                  <a:cubicBezTo>
                    <a:pt x="2204" y="1368"/>
                    <a:pt x="2152" y="1557"/>
                    <a:pt x="2061" y="1721"/>
                  </a:cubicBezTo>
                  <a:cubicBezTo>
                    <a:pt x="2087" y="1721"/>
                    <a:pt x="2087" y="1721"/>
                    <a:pt x="2087" y="1721"/>
                  </a:cubicBezTo>
                  <a:cubicBezTo>
                    <a:pt x="2176" y="1556"/>
                    <a:pt x="2227" y="1368"/>
                    <a:pt x="2227" y="1168"/>
                  </a:cubicBezTo>
                  <a:cubicBezTo>
                    <a:pt x="2227" y="524"/>
                    <a:pt x="1703" y="0"/>
                    <a:pt x="1059" y="0"/>
                  </a:cubicBezTo>
                  <a:cubicBezTo>
                    <a:pt x="591" y="0"/>
                    <a:pt x="187" y="276"/>
                    <a:pt x="0" y="674"/>
                  </a:cubicBezTo>
                  <a:cubicBezTo>
                    <a:pt x="0" y="731"/>
                    <a:pt x="0" y="731"/>
                    <a:pt x="0" y="731"/>
                  </a:cubicBezTo>
                  <a:cubicBezTo>
                    <a:pt x="172" y="316"/>
                    <a:pt x="582" y="23"/>
                    <a:pt x="1059"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7" name="Freeform 28"/>
            <p:cNvSpPr>
              <a:spLocks/>
            </p:cNvSpPr>
            <p:nvPr userDrawn="1"/>
          </p:nvSpPr>
          <p:spPr bwMode="auto">
            <a:xfrm>
              <a:off x="14692313" y="3232150"/>
              <a:ext cx="179388" cy="369888"/>
            </a:xfrm>
            <a:custGeom>
              <a:avLst/>
              <a:gdLst>
                <a:gd name="T0" fmla="*/ 57 w 57"/>
                <a:gd name="T1" fmla="*/ 117 h 117"/>
                <a:gd name="T2" fmla="*/ 0 w 57"/>
                <a:gd name="T3" fmla="*/ 0 h 117"/>
                <a:gd name="T4" fmla="*/ 0 w 57"/>
                <a:gd name="T5" fmla="*/ 58 h 117"/>
                <a:gd name="T6" fmla="*/ 30 w 57"/>
                <a:gd name="T7" fmla="*/ 117 h 117"/>
                <a:gd name="T8" fmla="*/ 57 w 57"/>
                <a:gd name="T9" fmla="*/ 117 h 117"/>
              </a:gdLst>
              <a:ahLst/>
              <a:cxnLst>
                <a:cxn ang="0">
                  <a:pos x="T0" y="T1"/>
                </a:cxn>
                <a:cxn ang="0">
                  <a:pos x="T2" y="T3"/>
                </a:cxn>
                <a:cxn ang="0">
                  <a:pos x="T4" y="T5"/>
                </a:cxn>
                <a:cxn ang="0">
                  <a:pos x="T6" y="T7"/>
                </a:cxn>
                <a:cxn ang="0">
                  <a:pos x="T8" y="T9"/>
                </a:cxn>
              </a:cxnLst>
              <a:rect l="0" t="0" r="r" b="b"/>
              <a:pathLst>
                <a:path w="57" h="117">
                  <a:moveTo>
                    <a:pt x="57" y="117"/>
                  </a:moveTo>
                  <a:cubicBezTo>
                    <a:pt x="36" y="79"/>
                    <a:pt x="17" y="41"/>
                    <a:pt x="0" y="0"/>
                  </a:cubicBezTo>
                  <a:cubicBezTo>
                    <a:pt x="0" y="58"/>
                    <a:pt x="0" y="58"/>
                    <a:pt x="0" y="58"/>
                  </a:cubicBezTo>
                  <a:cubicBezTo>
                    <a:pt x="10" y="78"/>
                    <a:pt x="20" y="98"/>
                    <a:pt x="30" y="117"/>
                  </a:cubicBezTo>
                  <a:lnTo>
                    <a:pt x="57"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8" name="Freeform 29"/>
            <p:cNvSpPr>
              <a:spLocks/>
            </p:cNvSpPr>
            <p:nvPr userDrawn="1"/>
          </p:nvSpPr>
          <p:spPr bwMode="auto">
            <a:xfrm>
              <a:off x="18465800" y="1054100"/>
              <a:ext cx="2890838" cy="2547938"/>
            </a:xfrm>
            <a:custGeom>
              <a:avLst/>
              <a:gdLst>
                <a:gd name="T0" fmla="*/ 108 w 913"/>
                <a:gd name="T1" fmla="*/ 805 h 805"/>
                <a:gd name="T2" fmla="*/ 108 w 913"/>
                <a:gd name="T3" fmla="*/ 659 h 805"/>
                <a:gd name="T4" fmla="*/ 97 w 913"/>
                <a:gd name="T5" fmla="*/ 620 h 805"/>
                <a:gd name="T6" fmla="*/ 54 w 913"/>
                <a:gd name="T7" fmla="*/ 610 h 805"/>
                <a:gd name="T8" fmla="*/ 29 w 913"/>
                <a:gd name="T9" fmla="*/ 606 h 805"/>
                <a:gd name="T10" fmla="*/ 36 w 913"/>
                <a:gd name="T11" fmla="*/ 576 h 805"/>
                <a:gd name="T12" fmla="*/ 101 w 913"/>
                <a:gd name="T13" fmla="*/ 471 h 805"/>
                <a:gd name="T14" fmla="*/ 122 w 913"/>
                <a:gd name="T15" fmla="*/ 430 h 805"/>
                <a:gd name="T16" fmla="*/ 128 w 913"/>
                <a:gd name="T17" fmla="*/ 391 h 805"/>
                <a:gd name="T18" fmla="*/ 129 w 913"/>
                <a:gd name="T19" fmla="*/ 382 h 805"/>
                <a:gd name="T20" fmla="*/ 380 w 913"/>
                <a:gd name="T21" fmla="*/ 70 h 805"/>
                <a:gd name="T22" fmla="*/ 768 w 913"/>
                <a:gd name="T23" fmla="*/ 165 h 805"/>
                <a:gd name="T24" fmla="*/ 778 w 913"/>
                <a:gd name="T25" fmla="*/ 667 h 805"/>
                <a:gd name="T26" fmla="*/ 763 w 913"/>
                <a:gd name="T27" fmla="*/ 684 h 805"/>
                <a:gd name="T28" fmla="*/ 732 w 913"/>
                <a:gd name="T29" fmla="*/ 725 h 805"/>
                <a:gd name="T30" fmla="*/ 717 w 913"/>
                <a:gd name="T31" fmla="*/ 805 h 805"/>
                <a:gd name="T32" fmla="*/ 740 w 913"/>
                <a:gd name="T33" fmla="*/ 805 h 805"/>
                <a:gd name="T34" fmla="*/ 752 w 913"/>
                <a:gd name="T35" fmla="*/ 736 h 805"/>
                <a:gd name="T36" fmla="*/ 780 w 913"/>
                <a:gd name="T37" fmla="*/ 699 h 805"/>
                <a:gd name="T38" fmla="*/ 796 w 913"/>
                <a:gd name="T39" fmla="*/ 682 h 805"/>
                <a:gd name="T40" fmla="*/ 890 w 913"/>
                <a:gd name="T41" fmla="*/ 400 h 805"/>
                <a:gd name="T42" fmla="*/ 785 w 913"/>
                <a:gd name="T43" fmla="*/ 149 h 805"/>
                <a:gd name="T44" fmla="*/ 372 w 913"/>
                <a:gd name="T45" fmla="*/ 48 h 805"/>
                <a:gd name="T46" fmla="*/ 106 w 913"/>
                <a:gd name="T47" fmla="*/ 380 h 805"/>
                <a:gd name="T48" fmla="*/ 105 w 913"/>
                <a:gd name="T49" fmla="*/ 388 h 805"/>
                <a:gd name="T50" fmla="*/ 100 w 913"/>
                <a:gd name="T51" fmla="*/ 423 h 805"/>
                <a:gd name="T52" fmla="*/ 81 w 913"/>
                <a:gd name="T53" fmla="*/ 459 h 805"/>
                <a:gd name="T54" fmla="*/ 16 w 913"/>
                <a:gd name="T55" fmla="*/ 563 h 805"/>
                <a:gd name="T56" fmla="*/ 11 w 913"/>
                <a:gd name="T57" fmla="*/ 620 h 805"/>
                <a:gd name="T58" fmla="*/ 55 w 913"/>
                <a:gd name="T59" fmla="*/ 633 h 805"/>
                <a:gd name="T60" fmla="*/ 81 w 913"/>
                <a:gd name="T61" fmla="*/ 636 h 805"/>
                <a:gd name="T62" fmla="*/ 85 w 913"/>
                <a:gd name="T63" fmla="*/ 659 h 805"/>
                <a:gd name="T64" fmla="*/ 85 w 913"/>
                <a:gd name="T65" fmla="*/ 805 h 805"/>
                <a:gd name="T66" fmla="*/ 108 w 913"/>
                <a:gd name="T67" fmla="*/ 80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3" h="805">
                  <a:moveTo>
                    <a:pt x="108" y="805"/>
                  </a:moveTo>
                  <a:cubicBezTo>
                    <a:pt x="108" y="659"/>
                    <a:pt x="108" y="659"/>
                    <a:pt x="108" y="659"/>
                  </a:cubicBezTo>
                  <a:cubicBezTo>
                    <a:pt x="108" y="649"/>
                    <a:pt x="109" y="631"/>
                    <a:pt x="97" y="620"/>
                  </a:cubicBezTo>
                  <a:cubicBezTo>
                    <a:pt x="85" y="608"/>
                    <a:pt x="67" y="609"/>
                    <a:pt x="54" y="610"/>
                  </a:cubicBezTo>
                  <a:cubicBezTo>
                    <a:pt x="41" y="610"/>
                    <a:pt x="33" y="611"/>
                    <a:pt x="29" y="606"/>
                  </a:cubicBezTo>
                  <a:cubicBezTo>
                    <a:pt x="24" y="599"/>
                    <a:pt x="30" y="586"/>
                    <a:pt x="36" y="576"/>
                  </a:cubicBezTo>
                  <a:cubicBezTo>
                    <a:pt x="101" y="471"/>
                    <a:pt x="101" y="471"/>
                    <a:pt x="101" y="471"/>
                  </a:cubicBezTo>
                  <a:cubicBezTo>
                    <a:pt x="109" y="458"/>
                    <a:pt x="117" y="445"/>
                    <a:pt x="122" y="430"/>
                  </a:cubicBezTo>
                  <a:cubicBezTo>
                    <a:pt x="126" y="417"/>
                    <a:pt x="127" y="404"/>
                    <a:pt x="128" y="391"/>
                  </a:cubicBezTo>
                  <a:cubicBezTo>
                    <a:pt x="129" y="388"/>
                    <a:pt x="129" y="385"/>
                    <a:pt x="129" y="382"/>
                  </a:cubicBezTo>
                  <a:cubicBezTo>
                    <a:pt x="145" y="244"/>
                    <a:pt x="247" y="115"/>
                    <a:pt x="380" y="70"/>
                  </a:cubicBezTo>
                  <a:cubicBezTo>
                    <a:pt x="513" y="25"/>
                    <a:pt x="666" y="62"/>
                    <a:pt x="768" y="165"/>
                  </a:cubicBezTo>
                  <a:cubicBezTo>
                    <a:pt x="882" y="280"/>
                    <a:pt x="913" y="508"/>
                    <a:pt x="778" y="667"/>
                  </a:cubicBezTo>
                  <a:cubicBezTo>
                    <a:pt x="772" y="673"/>
                    <a:pt x="767" y="679"/>
                    <a:pt x="763" y="684"/>
                  </a:cubicBezTo>
                  <a:cubicBezTo>
                    <a:pt x="751" y="697"/>
                    <a:pt x="740" y="709"/>
                    <a:pt x="732" y="725"/>
                  </a:cubicBezTo>
                  <a:cubicBezTo>
                    <a:pt x="719" y="748"/>
                    <a:pt x="715" y="775"/>
                    <a:pt x="717" y="805"/>
                  </a:cubicBezTo>
                  <a:cubicBezTo>
                    <a:pt x="740" y="805"/>
                    <a:pt x="740" y="805"/>
                    <a:pt x="740" y="805"/>
                  </a:cubicBezTo>
                  <a:cubicBezTo>
                    <a:pt x="738" y="779"/>
                    <a:pt x="742" y="756"/>
                    <a:pt x="752" y="736"/>
                  </a:cubicBezTo>
                  <a:cubicBezTo>
                    <a:pt x="759" y="722"/>
                    <a:pt x="768" y="713"/>
                    <a:pt x="780" y="699"/>
                  </a:cubicBezTo>
                  <a:cubicBezTo>
                    <a:pt x="785" y="694"/>
                    <a:pt x="790" y="688"/>
                    <a:pt x="796" y="682"/>
                  </a:cubicBezTo>
                  <a:cubicBezTo>
                    <a:pt x="862" y="604"/>
                    <a:pt x="895" y="504"/>
                    <a:pt x="890" y="400"/>
                  </a:cubicBezTo>
                  <a:cubicBezTo>
                    <a:pt x="886" y="303"/>
                    <a:pt x="847" y="211"/>
                    <a:pt x="785" y="149"/>
                  </a:cubicBezTo>
                  <a:cubicBezTo>
                    <a:pt x="676" y="40"/>
                    <a:pt x="514" y="0"/>
                    <a:pt x="372" y="48"/>
                  </a:cubicBezTo>
                  <a:cubicBezTo>
                    <a:pt x="230" y="97"/>
                    <a:pt x="123" y="230"/>
                    <a:pt x="106" y="380"/>
                  </a:cubicBezTo>
                  <a:cubicBezTo>
                    <a:pt x="106" y="383"/>
                    <a:pt x="106" y="386"/>
                    <a:pt x="105" y="388"/>
                  </a:cubicBezTo>
                  <a:cubicBezTo>
                    <a:pt x="104" y="401"/>
                    <a:pt x="103" y="412"/>
                    <a:pt x="100" y="423"/>
                  </a:cubicBezTo>
                  <a:cubicBezTo>
                    <a:pt x="96" y="435"/>
                    <a:pt x="88" y="447"/>
                    <a:pt x="81" y="459"/>
                  </a:cubicBezTo>
                  <a:cubicBezTo>
                    <a:pt x="16" y="563"/>
                    <a:pt x="16" y="563"/>
                    <a:pt x="16" y="563"/>
                  </a:cubicBezTo>
                  <a:cubicBezTo>
                    <a:pt x="2" y="587"/>
                    <a:pt x="0" y="607"/>
                    <a:pt x="11" y="620"/>
                  </a:cubicBezTo>
                  <a:cubicBezTo>
                    <a:pt x="22" y="635"/>
                    <a:pt x="40" y="634"/>
                    <a:pt x="55" y="633"/>
                  </a:cubicBezTo>
                  <a:cubicBezTo>
                    <a:pt x="66" y="632"/>
                    <a:pt x="76" y="632"/>
                    <a:pt x="81" y="636"/>
                  </a:cubicBezTo>
                  <a:cubicBezTo>
                    <a:pt x="85" y="641"/>
                    <a:pt x="85" y="650"/>
                    <a:pt x="85" y="659"/>
                  </a:cubicBezTo>
                  <a:cubicBezTo>
                    <a:pt x="85" y="805"/>
                    <a:pt x="85" y="805"/>
                    <a:pt x="85" y="805"/>
                  </a:cubicBezTo>
                  <a:lnTo>
                    <a:pt x="108"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32" name="Rechteck 27"/>
          <p:cNvSpPr/>
          <p:nvPr userDrawn="1"/>
        </p:nvSpPr>
        <p:spPr bwMode="gray">
          <a:xfrm>
            <a:off x="4741764" y="5"/>
            <a:ext cx="2007788" cy="6858001"/>
          </a:xfrm>
          <a:custGeom>
            <a:avLst/>
            <a:gdLst/>
            <a:ahLst/>
            <a:cxnLst/>
            <a:rect l="l" t="t" r="r" b="b"/>
            <a:pathLst>
              <a:path w="2007788" h="6858001">
                <a:moveTo>
                  <a:pt x="1651966" y="0"/>
                </a:moveTo>
                <a:lnTo>
                  <a:pt x="2007788" y="0"/>
                </a:lnTo>
                <a:lnTo>
                  <a:pt x="355822" y="6858000"/>
                </a:lnTo>
                <a:lnTo>
                  <a:pt x="0" y="685800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14" name="Picture Placeholder 12"/>
          <p:cNvSpPr>
            <a:spLocks noGrp="1"/>
          </p:cNvSpPr>
          <p:nvPr>
            <p:ph type="pic" sz="quarter" idx="14" hasCustomPrompt="1"/>
          </p:nvPr>
        </p:nvSpPr>
        <p:spPr bwMode="gray">
          <a:xfrm>
            <a:off x="5099397" y="-2379"/>
            <a:ext cx="5739896" cy="6861811"/>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 name="connsiteX0" fmla="*/ 1341581 w 8131850"/>
              <a:gd name="connsiteY0" fmla="*/ 0 h 6858000"/>
              <a:gd name="connsiteX1" fmla="*/ 8112573 w 8131850"/>
              <a:gd name="connsiteY1" fmla="*/ 0 h 6858000"/>
              <a:gd name="connsiteX2" fmla="*/ 3275459 w 8131850"/>
              <a:gd name="connsiteY2" fmla="*/ 6858000 h 6858000"/>
              <a:gd name="connsiteX3" fmla="*/ 0 w 8131850"/>
              <a:gd name="connsiteY3" fmla="*/ 6858000 h 6858000"/>
              <a:gd name="connsiteX4" fmla="*/ 1341581 w 8131850"/>
              <a:gd name="connsiteY4" fmla="*/ 0 h 6858000"/>
              <a:gd name="connsiteX0" fmla="*/ 1341581 w 8147282"/>
              <a:gd name="connsiteY0" fmla="*/ 0 h 6880860"/>
              <a:gd name="connsiteX1" fmla="*/ 8112573 w 8147282"/>
              <a:gd name="connsiteY1" fmla="*/ 0 h 6880860"/>
              <a:gd name="connsiteX2" fmla="*/ 5089019 w 8147282"/>
              <a:gd name="connsiteY2" fmla="*/ 6880860 h 6880860"/>
              <a:gd name="connsiteX3" fmla="*/ 0 w 8147282"/>
              <a:gd name="connsiteY3" fmla="*/ 6858000 h 6880860"/>
              <a:gd name="connsiteX4" fmla="*/ 1341581 w 8147282"/>
              <a:gd name="connsiteY4" fmla="*/ 0 h 6880860"/>
              <a:gd name="connsiteX0" fmla="*/ 1341581 w 8134469"/>
              <a:gd name="connsiteY0" fmla="*/ 0 h 6880860"/>
              <a:gd name="connsiteX1" fmla="*/ 8112573 w 8134469"/>
              <a:gd name="connsiteY1" fmla="*/ 0 h 6880860"/>
              <a:gd name="connsiteX2" fmla="*/ 5089019 w 8134469"/>
              <a:gd name="connsiteY2" fmla="*/ 6880860 h 6880860"/>
              <a:gd name="connsiteX3" fmla="*/ 0 w 8134469"/>
              <a:gd name="connsiteY3" fmla="*/ 6858000 h 6880860"/>
              <a:gd name="connsiteX4" fmla="*/ 1341581 w 8134469"/>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8112573"/>
              <a:gd name="connsiteY0" fmla="*/ 0 h 6880860"/>
              <a:gd name="connsiteX1" fmla="*/ 8112573 w 8112573"/>
              <a:gd name="connsiteY1" fmla="*/ 0 h 6880860"/>
              <a:gd name="connsiteX2" fmla="*/ 5089019 w 8112573"/>
              <a:gd name="connsiteY2" fmla="*/ 6880860 h 6880860"/>
              <a:gd name="connsiteX3" fmla="*/ 0 w 8112573"/>
              <a:gd name="connsiteY3" fmla="*/ 6858000 h 6880860"/>
              <a:gd name="connsiteX4" fmla="*/ 1341581 w 8112573"/>
              <a:gd name="connsiteY4" fmla="*/ 0 h 6880860"/>
              <a:gd name="connsiteX0" fmla="*/ 1341581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1341581 w 6763833"/>
              <a:gd name="connsiteY4" fmla="*/ 7620 h 6888480"/>
              <a:gd name="connsiteX0" fmla="*/ 2315513 w 6763833"/>
              <a:gd name="connsiteY0" fmla="*/ 7620 h 6888480"/>
              <a:gd name="connsiteX1" fmla="*/ 6763833 w 6763833"/>
              <a:gd name="connsiteY1" fmla="*/ 0 h 6888480"/>
              <a:gd name="connsiteX2" fmla="*/ 5089019 w 6763833"/>
              <a:gd name="connsiteY2" fmla="*/ 6888480 h 6888480"/>
              <a:gd name="connsiteX3" fmla="*/ 0 w 6763833"/>
              <a:gd name="connsiteY3" fmla="*/ 6865620 h 6888480"/>
              <a:gd name="connsiteX4" fmla="*/ 2315513 w 6763833"/>
              <a:gd name="connsiteY4" fmla="*/ 7620 h 6888480"/>
              <a:gd name="connsiteX0" fmla="*/ 2315513 w 6761452"/>
              <a:gd name="connsiteY0" fmla="*/ 476 h 6881336"/>
              <a:gd name="connsiteX1" fmla="*/ 6761452 w 6761452"/>
              <a:gd name="connsiteY1" fmla="*/ 0 h 6881336"/>
              <a:gd name="connsiteX2" fmla="*/ 5089019 w 6761452"/>
              <a:gd name="connsiteY2" fmla="*/ 6881336 h 6881336"/>
              <a:gd name="connsiteX3" fmla="*/ 0 w 6761452"/>
              <a:gd name="connsiteY3" fmla="*/ 6858476 h 6881336"/>
              <a:gd name="connsiteX4" fmla="*/ 2315513 w 6761452"/>
              <a:gd name="connsiteY4" fmla="*/ 476 h 6881336"/>
              <a:gd name="connsiteX0" fmla="*/ 2315513 w 6761452"/>
              <a:gd name="connsiteY0" fmla="*/ 476 h 6859905"/>
              <a:gd name="connsiteX1" fmla="*/ 6761452 w 6761452"/>
              <a:gd name="connsiteY1" fmla="*/ 0 h 6859905"/>
              <a:gd name="connsiteX2" fmla="*/ 5112831 w 6761452"/>
              <a:gd name="connsiteY2" fmla="*/ 6859905 h 6859905"/>
              <a:gd name="connsiteX3" fmla="*/ 0 w 6761452"/>
              <a:gd name="connsiteY3" fmla="*/ 6858476 h 6859905"/>
              <a:gd name="connsiteX4" fmla="*/ 2315513 w 6761452"/>
              <a:gd name="connsiteY4" fmla="*/ 476 h 6859905"/>
              <a:gd name="connsiteX0" fmla="*/ 1293957 w 5739896"/>
              <a:gd name="connsiteY0" fmla="*/ 476 h 6859905"/>
              <a:gd name="connsiteX1" fmla="*/ 5739896 w 5739896"/>
              <a:gd name="connsiteY1" fmla="*/ 0 h 6859905"/>
              <a:gd name="connsiteX2" fmla="*/ 4091275 w 5739896"/>
              <a:gd name="connsiteY2" fmla="*/ 6859905 h 6859905"/>
              <a:gd name="connsiteX3" fmla="*/ 0 w 5739896"/>
              <a:gd name="connsiteY3" fmla="*/ 6858476 h 6859905"/>
              <a:gd name="connsiteX4" fmla="*/ 1293957 w 5739896"/>
              <a:gd name="connsiteY4" fmla="*/ 476 h 6859905"/>
              <a:gd name="connsiteX0" fmla="*/ 1644001 w 5739896"/>
              <a:gd name="connsiteY0" fmla="*/ 0 h 6861811"/>
              <a:gd name="connsiteX1" fmla="*/ 5739896 w 5739896"/>
              <a:gd name="connsiteY1" fmla="*/ 1906 h 6861811"/>
              <a:gd name="connsiteX2" fmla="*/ 4091275 w 5739896"/>
              <a:gd name="connsiteY2" fmla="*/ 6861811 h 6861811"/>
              <a:gd name="connsiteX3" fmla="*/ 0 w 5739896"/>
              <a:gd name="connsiteY3" fmla="*/ 6860382 h 6861811"/>
              <a:gd name="connsiteX4" fmla="*/ 1644001 w 5739896"/>
              <a:gd name="connsiteY4" fmla="*/ 0 h 68618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9896" h="6861811">
                <a:moveTo>
                  <a:pt x="1644001" y="0"/>
                </a:moveTo>
                <a:lnTo>
                  <a:pt x="5739896" y="1906"/>
                </a:lnTo>
                <a:lnTo>
                  <a:pt x="4091275" y="6861811"/>
                </a:lnTo>
                <a:lnTo>
                  <a:pt x="0" y="6860382"/>
                </a:lnTo>
                <a:lnTo>
                  <a:pt x="1644001" y="0"/>
                </a:lnTo>
                <a:close/>
              </a:path>
            </a:pathLst>
          </a:custGeom>
          <a:solidFill>
            <a:schemeClr val="bg1">
              <a:lumMod val="85000"/>
            </a:schemeClr>
          </a:solidFill>
        </p:spPr>
        <p:txBody>
          <a:bodyPr wrap="square" tIns="539992" anchor="ctr">
            <a:noAutofit/>
          </a:bodyPr>
          <a:lstStyle>
            <a:lvl1pPr algn="ctr">
              <a:defRPr sz="1400"/>
            </a:lvl1pPr>
          </a:lstStyle>
          <a:p>
            <a:r>
              <a:rPr lang="de-DE" dirty="0"/>
              <a:t>Insert </a:t>
            </a:r>
            <a:r>
              <a:rPr lang="de-DE" dirty="0" err="1"/>
              <a:t>picture</a:t>
            </a:r>
            <a:endParaRPr lang="de-DE" dirty="0"/>
          </a:p>
        </p:txBody>
      </p:sp>
      <p:sp>
        <p:nvSpPr>
          <p:cNvPr id="3" name="Subtitle 2"/>
          <p:cNvSpPr>
            <a:spLocks noGrp="1"/>
          </p:cNvSpPr>
          <p:nvPr>
            <p:ph type="subTitle" idx="1" hasCustomPrompt="1"/>
          </p:nvPr>
        </p:nvSpPr>
        <p:spPr bwMode="black">
          <a:xfrm>
            <a:off x="486000" y="439200"/>
            <a:ext cx="4186800" cy="392400"/>
          </a:xfrm>
        </p:spPr>
        <p:txBody>
          <a:bodyPr anchor="t"/>
          <a:lstStyle>
            <a:lvl1pPr marL="0" indent="0" algn="l">
              <a:buNone/>
              <a:defRPr sz="16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dirty="0"/>
              <a:t>Innovation</a:t>
            </a:r>
            <a:endParaRPr lang="en-US" dirty="0"/>
          </a:p>
        </p:txBody>
      </p:sp>
      <p:sp>
        <p:nvSpPr>
          <p:cNvPr id="2" name="Title 1"/>
          <p:cNvSpPr>
            <a:spLocks noGrp="1"/>
          </p:cNvSpPr>
          <p:nvPr>
            <p:ph type="ctrTitle" hasCustomPrompt="1"/>
          </p:nvPr>
        </p:nvSpPr>
        <p:spPr bwMode="black">
          <a:xfrm>
            <a:off x="486000" y="831600"/>
            <a:ext cx="4186800" cy="1396800"/>
          </a:xfrm>
        </p:spPr>
        <p:txBody>
          <a:bodyPr anchor="t"/>
          <a:lstStyle>
            <a:lvl1pPr>
              <a:defRPr sz="3600" b="1" i="0">
                <a:solidFill>
                  <a:srgbClr val="104862"/>
                </a:solidFill>
              </a:defRPr>
            </a:lvl1pPr>
          </a:lstStyle>
          <a:p>
            <a:r>
              <a:rPr lang="de-DE" dirty="0" err="1"/>
              <a:t>Presentation</a:t>
            </a:r>
            <a:r>
              <a:rPr lang="de-DE" dirty="0"/>
              <a:t> Title</a:t>
            </a:r>
            <a:endParaRPr lang="en-US" dirty="0"/>
          </a:p>
        </p:txBody>
      </p:sp>
      <p:grpSp>
        <p:nvGrpSpPr>
          <p:cNvPr id="12" name="Group 219"/>
          <p:cNvGrpSpPr>
            <a:grpSpLocks noChangeAspect="1"/>
          </p:cNvGrpSpPr>
          <p:nvPr userDrawn="1"/>
        </p:nvGrpSpPr>
        <p:grpSpPr bwMode="gray">
          <a:xfrm>
            <a:off x="11106108" y="436516"/>
            <a:ext cx="587892" cy="589010"/>
            <a:chOff x="6936" y="180"/>
            <a:chExt cx="526" cy="527"/>
          </a:xfrm>
          <a:solidFill>
            <a:schemeClr val="bg1"/>
          </a:solidFill>
        </p:grpSpPr>
        <p:sp>
          <p:nvSpPr>
            <p:cNvPr id="13"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4"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5"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6"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66" name="Rechteck 6"/>
          <p:cNvSpPr/>
          <p:nvPr userDrawn="1"/>
        </p:nvSpPr>
        <p:spPr bwMode="gray">
          <a:xfrm rot="960000">
            <a:off x="5574865" y="-146532"/>
            <a:ext cx="41291" cy="7148691"/>
          </a:xfrm>
          <a:custGeom>
            <a:avLst/>
            <a:gdLst/>
            <a:ahLst/>
            <a:cxnLst/>
            <a:rect l="l" t="t" r="r" b="b"/>
            <a:pathLst>
              <a:path w="41291" h="7148691">
                <a:moveTo>
                  <a:pt x="0" y="11840"/>
                </a:moveTo>
                <a:lnTo>
                  <a:pt x="41291" y="0"/>
                </a:lnTo>
                <a:lnTo>
                  <a:pt x="41291" y="7136851"/>
                </a:lnTo>
                <a:lnTo>
                  <a:pt x="0" y="714869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3907005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_1">
    <p:bg>
      <p:bgPr>
        <a:solidFill>
          <a:schemeClr val="accent2"/>
        </a:solidFill>
        <a:effectLst/>
      </p:bgPr>
    </p:bg>
    <p:spTree>
      <p:nvGrpSpPr>
        <p:cNvPr id="1" name=""/>
        <p:cNvGrpSpPr/>
        <p:nvPr/>
      </p:nvGrpSpPr>
      <p:grpSpPr>
        <a:xfrm>
          <a:off x="0" y="0"/>
          <a:ext cx="0" cy="0"/>
          <a:chOff x="0" y="0"/>
          <a:chExt cx="0" cy="0"/>
        </a:xfrm>
      </p:grpSpPr>
      <p:grpSp>
        <p:nvGrpSpPr>
          <p:cNvPr id="93" name="Gruppieren 92"/>
          <p:cNvGrpSpPr/>
          <p:nvPr userDrawn="1"/>
        </p:nvGrpSpPr>
        <p:grpSpPr>
          <a:xfrm>
            <a:off x="6968037" y="2863973"/>
            <a:ext cx="5222380" cy="3992691"/>
            <a:chOff x="24110950" y="-11606213"/>
            <a:chExt cx="6553201" cy="5010150"/>
          </a:xfrm>
          <a:solidFill>
            <a:srgbClr val="076DA6"/>
          </a:solidFill>
        </p:grpSpPr>
        <p:sp>
          <p:nvSpPr>
            <p:cNvPr id="94" name="Freeform 30"/>
            <p:cNvSpPr>
              <a:spLocks/>
            </p:cNvSpPr>
            <p:nvPr userDrawn="1"/>
          </p:nvSpPr>
          <p:spPr bwMode="auto">
            <a:xfrm>
              <a:off x="27808238" y="-10223500"/>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2"/>
                    <a:pt x="100" y="0"/>
                    <a:pt x="0" y="0"/>
                  </a:cubicBezTo>
                  <a:cubicBezTo>
                    <a:pt x="0" y="23"/>
                    <a:pt x="0" y="23"/>
                    <a:pt x="0" y="23"/>
                  </a:cubicBezTo>
                  <a:cubicBezTo>
                    <a:pt x="87" y="23"/>
                    <a:pt x="158" y="94"/>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95" name="Rectangle 31"/>
            <p:cNvSpPr>
              <a:spLocks noChangeArrowheads="1"/>
            </p:cNvSpPr>
            <p:nvPr userDrawn="1"/>
          </p:nvSpPr>
          <p:spPr bwMode="auto">
            <a:xfrm>
              <a:off x="27770138" y="-10931525"/>
              <a:ext cx="73025" cy="388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96" name="Freeform 32"/>
            <p:cNvSpPr>
              <a:spLocks/>
            </p:cNvSpPr>
            <p:nvPr userDrawn="1"/>
          </p:nvSpPr>
          <p:spPr bwMode="auto">
            <a:xfrm>
              <a:off x="26874788" y="-10580688"/>
              <a:ext cx="325438" cy="325438"/>
            </a:xfrm>
            <a:custGeom>
              <a:avLst/>
              <a:gdLst>
                <a:gd name="T0" fmla="*/ 205 w 205"/>
                <a:gd name="T1" fmla="*/ 173 h 205"/>
                <a:gd name="T2" fmla="*/ 32 w 205"/>
                <a:gd name="T3" fmla="*/ 0 h 205"/>
                <a:gd name="T4" fmla="*/ 0 w 205"/>
                <a:gd name="T5" fmla="*/ 32 h 205"/>
                <a:gd name="T6" fmla="*/ 173 w 205"/>
                <a:gd name="T7" fmla="*/ 205 h 205"/>
                <a:gd name="T8" fmla="*/ 205 w 205"/>
                <a:gd name="T9" fmla="*/ 173 h 205"/>
              </a:gdLst>
              <a:ahLst/>
              <a:cxnLst>
                <a:cxn ang="0">
                  <a:pos x="T0" y="T1"/>
                </a:cxn>
                <a:cxn ang="0">
                  <a:pos x="T2" y="T3"/>
                </a:cxn>
                <a:cxn ang="0">
                  <a:pos x="T4" y="T5"/>
                </a:cxn>
                <a:cxn ang="0">
                  <a:pos x="T6" y="T7"/>
                </a:cxn>
                <a:cxn ang="0">
                  <a:pos x="T8" y="T9"/>
                </a:cxn>
              </a:cxnLst>
              <a:rect l="0" t="0" r="r" b="b"/>
              <a:pathLst>
                <a:path w="205" h="205">
                  <a:moveTo>
                    <a:pt x="205" y="173"/>
                  </a:moveTo>
                  <a:lnTo>
                    <a:pt x="32" y="0"/>
                  </a:lnTo>
                  <a:lnTo>
                    <a:pt x="0" y="32"/>
                  </a:lnTo>
                  <a:lnTo>
                    <a:pt x="173" y="205"/>
                  </a:lnTo>
                  <a:lnTo>
                    <a:pt x="205"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97" name="Rectangle 33"/>
            <p:cNvSpPr>
              <a:spLocks noChangeArrowheads="1"/>
            </p:cNvSpPr>
            <p:nvPr userDrawn="1"/>
          </p:nvSpPr>
          <p:spPr bwMode="auto">
            <a:xfrm>
              <a:off x="26523950" y="-9685338"/>
              <a:ext cx="392113"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98" name="Freeform 34"/>
            <p:cNvSpPr>
              <a:spLocks/>
            </p:cNvSpPr>
            <p:nvPr userDrawn="1"/>
          </p:nvSpPr>
          <p:spPr bwMode="auto">
            <a:xfrm>
              <a:off x="26874788" y="-9042400"/>
              <a:ext cx="325438" cy="325438"/>
            </a:xfrm>
            <a:custGeom>
              <a:avLst/>
              <a:gdLst>
                <a:gd name="T0" fmla="*/ 0 w 205"/>
                <a:gd name="T1" fmla="*/ 173 h 205"/>
                <a:gd name="T2" fmla="*/ 32 w 205"/>
                <a:gd name="T3" fmla="*/ 205 h 205"/>
                <a:gd name="T4" fmla="*/ 205 w 205"/>
                <a:gd name="T5" fmla="*/ 32 h 205"/>
                <a:gd name="T6" fmla="*/ 173 w 205"/>
                <a:gd name="T7" fmla="*/ 0 h 205"/>
                <a:gd name="T8" fmla="*/ 0 w 205"/>
                <a:gd name="T9" fmla="*/ 173 h 205"/>
              </a:gdLst>
              <a:ahLst/>
              <a:cxnLst>
                <a:cxn ang="0">
                  <a:pos x="T0" y="T1"/>
                </a:cxn>
                <a:cxn ang="0">
                  <a:pos x="T2" y="T3"/>
                </a:cxn>
                <a:cxn ang="0">
                  <a:pos x="T4" y="T5"/>
                </a:cxn>
                <a:cxn ang="0">
                  <a:pos x="T6" y="T7"/>
                </a:cxn>
                <a:cxn ang="0">
                  <a:pos x="T8" y="T9"/>
                </a:cxn>
              </a:cxnLst>
              <a:rect l="0" t="0" r="r" b="b"/>
              <a:pathLst>
                <a:path w="205" h="205">
                  <a:moveTo>
                    <a:pt x="0" y="173"/>
                  </a:moveTo>
                  <a:lnTo>
                    <a:pt x="32" y="205"/>
                  </a:lnTo>
                  <a:lnTo>
                    <a:pt x="205" y="32"/>
                  </a:lnTo>
                  <a:lnTo>
                    <a:pt x="173" y="0"/>
                  </a:lnTo>
                  <a:lnTo>
                    <a:pt x="0"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99" name="Freeform 35"/>
            <p:cNvSpPr>
              <a:spLocks/>
            </p:cNvSpPr>
            <p:nvPr userDrawn="1"/>
          </p:nvSpPr>
          <p:spPr bwMode="auto">
            <a:xfrm>
              <a:off x="28413075" y="-10580688"/>
              <a:ext cx="330200" cy="325438"/>
            </a:xfrm>
            <a:custGeom>
              <a:avLst/>
              <a:gdLst>
                <a:gd name="T0" fmla="*/ 208 w 208"/>
                <a:gd name="T1" fmla="*/ 32 h 205"/>
                <a:gd name="T2" fmla="*/ 174 w 208"/>
                <a:gd name="T3" fmla="*/ 0 h 205"/>
                <a:gd name="T4" fmla="*/ 0 w 208"/>
                <a:gd name="T5" fmla="*/ 173 h 205"/>
                <a:gd name="T6" fmla="*/ 32 w 208"/>
                <a:gd name="T7" fmla="*/ 205 h 205"/>
                <a:gd name="T8" fmla="*/ 208 w 208"/>
                <a:gd name="T9" fmla="*/ 32 h 205"/>
              </a:gdLst>
              <a:ahLst/>
              <a:cxnLst>
                <a:cxn ang="0">
                  <a:pos x="T0" y="T1"/>
                </a:cxn>
                <a:cxn ang="0">
                  <a:pos x="T2" y="T3"/>
                </a:cxn>
                <a:cxn ang="0">
                  <a:pos x="T4" y="T5"/>
                </a:cxn>
                <a:cxn ang="0">
                  <a:pos x="T6" y="T7"/>
                </a:cxn>
                <a:cxn ang="0">
                  <a:pos x="T8" y="T9"/>
                </a:cxn>
              </a:cxnLst>
              <a:rect l="0" t="0" r="r" b="b"/>
              <a:pathLst>
                <a:path w="208" h="205">
                  <a:moveTo>
                    <a:pt x="208" y="32"/>
                  </a:moveTo>
                  <a:lnTo>
                    <a:pt x="174" y="0"/>
                  </a:lnTo>
                  <a:lnTo>
                    <a:pt x="0" y="173"/>
                  </a:lnTo>
                  <a:lnTo>
                    <a:pt x="32" y="205"/>
                  </a:lnTo>
                  <a:lnTo>
                    <a:pt x="20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0" name="Rectangle 36"/>
            <p:cNvSpPr>
              <a:spLocks noChangeArrowheads="1"/>
            </p:cNvSpPr>
            <p:nvPr userDrawn="1"/>
          </p:nvSpPr>
          <p:spPr bwMode="auto">
            <a:xfrm>
              <a:off x="28702000" y="-9685338"/>
              <a:ext cx="388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1" name="Freeform 37"/>
            <p:cNvSpPr>
              <a:spLocks/>
            </p:cNvSpPr>
            <p:nvPr userDrawn="1"/>
          </p:nvSpPr>
          <p:spPr bwMode="auto">
            <a:xfrm>
              <a:off x="28413075" y="-9042400"/>
              <a:ext cx="330200" cy="325438"/>
            </a:xfrm>
            <a:custGeom>
              <a:avLst/>
              <a:gdLst>
                <a:gd name="T0" fmla="*/ 0 w 208"/>
                <a:gd name="T1" fmla="*/ 32 h 205"/>
                <a:gd name="T2" fmla="*/ 174 w 208"/>
                <a:gd name="T3" fmla="*/ 205 h 205"/>
                <a:gd name="T4" fmla="*/ 208 w 208"/>
                <a:gd name="T5" fmla="*/ 173 h 205"/>
                <a:gd name="T6" fmla="*/ 32 w 208"/>
                <a:gd name="T7" fmla="*/ 0 h 205"/>
                <a:gd name="T8" fmla="*/ 0 w 208"/>
                <a:gd name="T9" fmla="*/ 32 h 205"/>
              </a:gdLst>
              <a:ahLst/>
              <a:cxnLst>
                <a:cxn ang="0">
                  <a:pos x="T0" y="T1"/>
                </a:cxn>
                <a:cxn ang="0">
                  <a:pos x="T2" y="T3"/>
                </a:cxn>
                <a:cxn ang="0">
                  <a:pos x="T4" y="T5"/>
                </a:cxn>
                <a:cxn ang="0">
                  <a:pos x="T6" y="T7"/>
                </a:cxn>
                <a:cxn ang="0">
                  <a:pos x="T8" y="T9"/>
                </a:cxn>
              </a:cxnLst>
              <a:rect l="0" t="0" r="r" b="b"/>
              <a:pathLst>
                <a:path w="208" h="205">
                  <a:moveTo>
                    <a:pt x="0" y="32"/>
                  </a:moveTo>
                  <a:lnTo>
                    <a:pt x="174" y="205"/>
                  </a:lnTo>
                  <a:lnTo>
                    <a:pt x="208" y="173"/>
                  </a:lnTo>
                  <a:lnTo>
                    <a:pt x="32" y="0"/>
                  </a:lnTo>
                  <a:lnTo>
                    <a:pt x="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2" name="Freeform 38"/>
            <p:cNvSpPr>
              <a:spLocks noEditPoints="1"/>
            </p:cNvSpPr>
            <p:nvPr userDrawn="1"/>
          </p:nvSpPr>
          <p:spPr bwMode="auto">
            <a:xfrm>
              <a:off x="27014488" y="-10440988"/>
              <a:ext cx="1585913" cy="1955800"/>
            </a:xfrm>
            <a:custGeom>
              <a:avLst/>
              <a:gdLst>
                <a:gd name="T0" fmla="*/ 383 w 501"/>
                <a:gd name="T1" fmla="*/ 588 h 618"/>
                <a:gd name="T2" fmla="*/ 440 w 501"/>
                <a:gd name="T3" fmla="*/ 415 h 618"/>
                <a:gd name="T4" fmla="*/ 501 w 501"/>
                <a:gd name="T5" fmla="*/ 250 h 618"/>
                <a:gd name="T6" fmla="*/ 251 w 501"/>
                <a:gd name="T7" fmla="*/ 0 h 618"/>
                <a:gd name="T8" fmla="*/ 0 w 501"/>
                <a:gd name="T9" fmla="*/ 250 h 618"/>
                <a:gd name="T10" fmla="*/ 62 w 501"/>
                <a:gd name="T11" fmla="*/ 415 h 618"/>
                <a:gd name="T12" fmla="*/ 119 w 501"/>
                <a:gd name="T13" fmla="*/ 588 h 618"/>
                <a:gd name="T14" fmla="*/ 149 w 501"/>
                <a:gd name="T15" fmla="*/ 618 h 618"/>
                <a:gd name="T16" fmla="*/ 353 w 501"/>
                <a:gd name="T17" fmla="*/ 618 h 618"/>
                <a:gd name="T18" fmla="*/ 383 w 501"/>
                <a:gd name="T19" fmla="*/ 588 h 618"/>
                <a:gd name="T20" fmla="*/ 142 w 501"/>
                <a:gd name="T21" fmla="*/ 588 h 618"/>
                <a:gd name="T22" fmla="*/ 79 w 501"/>
                <a:gd name="T23" fmla="*/ 400 h 618"/>
                <a:gd name="T24" fmla="*/ 23 w 501"/>
                <a:gd name="T25" fmla="*/ 250 h 618"/>
                <a:gd name="T26" fmla="*/ 251 w 501"/>
                <a:gd name="T27" fmla="*/ 23 h 618"/>
                <a:gd name="T28" fmla="*/ 478 w 501"/>
                <a:gd name="T29" fmla="*/ 250 h 618"/>
                <a:gd name="T30" fmla="*/ 422 w 501"/>
                <a:gd name="T31" fmla="*/ 400 h 618"/>
                <a:gd name="T32" fmla="*/ 360 w 501"/>
                <a:gd name="T33" fmla="*/ 588 h 618"/>
                <a:gd name="T34" fmla="*/ 353 w 501"/>
                <a:gd name="T35" fmla="*/ 595 h 618"/>
                <a:gd name="T36" fmla="*/ 149 w 501"/>
                <a:gd name="T37" fmla="*/ 595 h 618"/>
                <a:gd name="T38" fmla="*/ 142 w 501"/>
                <a:gd name="T39" fmla="*/ 58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618">
                  <a:moveTo>
                    <a:pt x="383" y="588"/>
                  </a:moveTo>
                  <a:cubicBezTo>
                    <a:pt x="383" y="479"/>
                    <a:pt x="439" y="416"/>
                    <a:pt x="440" y="415"/>
                  </a:cubicBezTo>
                  <a:cubicBezTo>
                    <a:pt x="479" y="369"/>
                    <a:pt x="501" y="311"/>
                    <a:pt x="501" y="250"/>
                  </a:cubicBezTo>
                  <a:cubicBezTo>
                    <a:pt x="501" y="112"/>
                    <a:pt x="389" y="0"/>
                    <a:pt x="251" y="0"/>
                  </a:cubicBezTo>
                  <a:cubicBezTo>
                    <a:pt x="113" y="0"/>
                    <a:pt x="0" y="112"/>
                    <a:pt x="0" y="250"/>
                  </a:cubicBezTo>
                  <a:cubicBezTo>
                    <a:pt x="0" y="311"/>
                    <a:pt x="22" y="369"/>
                    <a:pt x="62" y="415"/>
                  </a:cubicBezTo>
                  <a:cubicBezTo>
                    <a:pt x="63" y="416"/>
                    <a:pt x="119" y="479"/>
                    <a:pt x="119" y="588"/>
                  </a:cubicBezTo>
                  <a:cubicBezTo>
                    <a:pt x="119" y="605"/>
                    <a:pt x="131" y="618"/>
                    <a:pt x="149" y="618"/>
                  </a:cubicBezTo>
                  <a:cubicBezTo>
                    <a:pt x="353" y="618"/>
                    <a:pt x="353" y="618"/>
                    <a:pt x="353" y="618"/>
                  </a:cubicBezTo>
                  <a:cubicBezTo>
                    <a:pt x="370" y="618"/>
                    <a:pt x="383" y="605"/>
                    <a:pt x="383" y="588"/>
                  </a:cubicBezTo>
                  <a:close/>
                  <a:moveTo>
                    <a:pt x="142" y="588"/>
                  </a:moveTo>
                  <a:cubicBezTo>
                    <a:pt x="142" y="469"/>
                    <a:pt x="82" y="402"/>
                    <a:pt x="79" y="400"/>
                  </a:cubicBezTo>
                  <a:cubicBezTo>
                    <a:pt x="43" y="358"/>
                    <a:pt x="23" y="305"/>
                    <a:pt x="23" y="250"/>
                  </a:cubicBezTo>
                  <a:cubicBezTo>
                    <a:pt x="23" y="125"/>
                    <a:pt x="125" y="23"/>
                    <a:pt x="251" y="23"/>
                  </a:cubicBezTo>
                  <a:cubicBezTo>
                    <a:pt x="376" y="23"/>
                    <a:pt x="478" y="125"/>
                    <a:pt x="478" y="250"/>
                  </a:cubicBezTo>
                  <a:cubicBezTo>
                    <a:pt x="478" y="305"/>
                    <a:pt x="458" y="358"/>
                    <a:pt x="422" y="400"/>
                  </a:cubicBezTo>
                  <a:cubicBezTo>
                    <a:pt x="420" y="402"/>
                    <a:pt x="360" y="469"/>
                    <a:pt x="360" y="588"/>
                  </a:cubicBezTo>
                  <a:cubicBezTo>
                    <a:pt x="360" y="593"/>
                    <a:pt x="357" y="595"/>
                    <a:pt x="353" y="595"/>
                  </a:cubicBezTo>
                  <a:cubicBezTo>
                    <a:pt x="149" y="595"/>
                    <a:pt x="149" y="595"/>
                    <a:pt x="149" y="595"/>
                  </a:cubicBezTo>
                  <a:cubicBezTo>
                    <a:pt x="144" y="595"/>
                    <a:pt x="142" y="593"/>
                    <a:pt x="142"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3" name="Rectangle 39"/>
            <p:cNvSpPr>
              <a:spLocks noChangeArrowheads="1"/>
            </p:cNvSpPr>
            <p:nvPr userDrawn="1"/>
          </p:nvSpPr>
          <p:spPr bwMode="auto">
            <a:xfrm>
              <a:off x="27485975" y="-8367713"/>
              <a:ext cx="642938" cy="71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4" name="Freeform 40"/>
            <p:cNvSpPr>
              <a:spLocks/>
            </p:cNvSpPr>
            <p:nvPr userDrawn="1"/>
          </p:nvSpPr>
          <p:spPr bwMode="auto">
            <a:xfrm>
              <a:off x="24493538" y="-8707438"/>
              <a:ext cx="2894013" cy="2111375"/>
            </a:xfrm>
            <a:custGeom>
              <a:avLst/>
              <a:gdLst>
                <a:gd name="T0" fmla="*/ 135 w 914"/>
                <a:gd name="T1" fmla="*/ 667 h 667"/>
                <a:gd name="T2" fmla="*/ 145 w 914"/>
                <a:gd name="T3" fmla="*/ 165 h 667"/>
                <a:gd name="T4" fmla="*/ 534 w 914"/>
                <a:gd name="T5" fmla="*/ 70 h 667"/>
                <a:gd name="T6" fmla="*/ 784 w 914"/>
                <a:gd name="T7" fmla="*/ 382 h 667"/>
                <a:gd name="T8" fmla="*/ 785 w 914"/>
                <a:gd name="T9" fmla="*/ 391 h 667"/>
                <a:gd name="T10" fmla="*/ 792 w 914"/>
                <a:gd name="T11" fmla="*/ 430 h 667"/>
                <a:gd name="T12" fmla="*/ 813 w 914"/>
                <a:gd name="T13" fmla="*/ 471 h 667"/>
                <a:gd name="T14" fmla="*/ 877 w 914"/>
                <a:gd name="T15" fmla="*/ 576 h 667"/>
                <a:gd name="T16" fmla="*/ 885 w 914"/>
                <a:gd name="T17" fmla="*/ 606 h 667"/>
                <a:gd name="T18" fmla="*/ 860 w 914"/>
                <a:gd name="T19" fmla="*/ 610 h 667"/>
                <a:gd name="T20" fmla="*/ 817 w 914"/>
                <a:gd name="T21" fmla="*/ 620 h 667"/>
                <a:gd name="T22" fmla="*/ 805 w 914"/>
                <a:gd name="T23" fmla="*/ 659 h 667"/>
                <a:gd name="T24" fmla="*/ 805 w 914"/>
                <a:gd name="T25" fmla="*/ 667 h 667"/>
                <a:gd name="T26" fmla="*/ 828 w 914"/>
                <a:gd name="T27" fmla="*/ 667 h 667"/>
                <a:gd name="T28" fmla="*/ 828 w 914"/>
                <a:gd name="T29" fmla="*/ 659 h 667"/>
                <a:gd name="T30" fmla="*/ 833 w 914"/>
                <a:gd name="T31" fmla="*/ 636 h 667"/>
                <a:gd name="T32" fmla="*/ 858 w 914"/>
                <a:gd name="T33" fmla="*/ 633 h 667"/>
                <a:gd name="T34" fmla="*/ 903 w 914"/>
                <a:gd name="T35" fmla="*/ 620 h 667"/>
                <a:gd name="T36" fmla="*/ 897 w 914"/>
                <a:gd name="T37" fmla="*/ 564 h 667"/>
                <a:gd name="T38" fmla="*/ 832 w 914"/>
                <a:gd name="T39" fmla="*/ 459 h 667"/>
                <a:gd name="T40" fmla="*/ 814 w 914"/>
                <a:gd name="T41" fmla="*/ 423 h 667"/>
                <a:gd name="T42" fmla="*/ 808 w 914"/>
                <a:gd name="T43" fmla="*/ 389 h 667"/>
                <a:gd name="T44" fmla="*/ 807 w 914"/>
                <a:gd name="T45" fmla="*/ 380 h 667"/>
                <a:gd name="T46" fmla="*/ 541 w 914"/>
                <a:gd name="T47" fmla="*/ 48 h 667"/>
                <a:gd name="T48" fmla="*/ 129 w 914"/>
                <a:gd name="T49" fmla="*/ 149 h 667"/>
                <a:gd name="T50" fmla="*/ 23 w 914"/>
                <a:gd name="T51" fmla="*/ 400 h 667"/>
                <a:gd name="T52" fmla="*/ 106 w 914"/>
                <a:gd name="T53" fmla="*/ 667 h 667"/>
                <a:gd name="T54" fmla="*/ 136 w 914"/>
                <a:gd name="T55" fmla="*/ 667 h 667"/>
                <a:gd name="T56" fmla="*/ 135 w 914"/>
                <a:gd name="T57"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14" h="667">
                  <a:moveTo>
                    <a:pt x="135" y="667"/>
                  </a:moveTo>
                  <a:cubicBezTo>
                    <a:pt x="0" y="508"/>
                    <a:pt x="31" y="280"/>
                    <a:pt x="145" y="165"/>
                  </a:cubicBezTo>
                  <a:cubicBezTo>
                    <a:pt x="248" y="62"/>
                    <a:pt x="400" y="25"/>
                    <a:pt x="534" y="70"/>
                  </a:cubicBezTo>
                  <a:cubicBezTo>
                    <a:pt x="666" y="115"/>
                    <a:pt x="769" y="244"/>
                    <a:pt x="784" y="382"/>
                  </a:cubicBezTo>
                  <a:cubicBezTo>
                    <a:pt x="784" y="385"/>
                    <a:pt x="785" y="388"/>
                    <a:pt x="785" y="391"/>
                  </a:cubicBezTo>
                  <a:cubicBezTo>
                    <a:pt x="786" y="404"/>
                    <a:pt x="788" y="417"/>
                    <a:pt x="792" y="430"/>
                  </a:cubicBezTo>
                  <a:cubicBezTo>
                    <a:pt x="797" y="445"/>
                    <a:pt x="805" y="458"/>
                    <a:pt x="813" y="471"/>
                  </a:cubicBezTo>
                  <a:cubicBezTo>
                    <a:pt x="877" y="576"/>
                    <a:pt x="877" y="576"/>
                    <a:pt x="877" y="576"/>
                  </a:cubicBezTo>
                  <a:cubicBezTo>
                    <a:pt x="884" y="586"/>
                    <a:pt x="890" y="599"/>
                    <a:pt x="885" y="606"/>
                  </a:cubicBezTo>
                  <a:cubicBezTo>
                    <a:pt x="881" y="611"/>
                    <a:pt x="873" y="611"/>
                    <a:pt x="860" y="610"/>
                  </a:cubicBezTo>
                  <a:cubicBezTo>
                    <a:pt x="846" y="609"/>
                    <a:pt x="829" y="608"/>
                    <a:pt x="817" y="620"/>
                  </a:cubicBezTo>
                  <a:cubicBezTo>
                    <a:pt x="805" y="631"/>
                    <a:pt x="805" y="649"/>
                    <a:pt x="805" y="659"/>
                  </a:cubicBezTo>
                  <a:cubicBezTo>
                    <a:pt x="805" y="667"/>
                    <a:pt x="805" y="667"/>
                    <a:pt x="805" y="667"/>
                  </a:cubicBezTo>
                  <a:cubicBezTo>
                    <a:pt x="828" y="667"/>
                    <a:pt x="828" y="667"/>
                    <a:pt x="828" y="667"/>
                  </a:cubicBezTo>
                  <a:cubicBezTo>
                    <a:pt x="828" y="659"/>
                    <a:pt x="828" y="659"/>
                    <a:pt x="828" y="659"/>
                  </a:cubicBezTo>
                  <a:cubicBezTo>
                    <a:pt x="828" y="650"/>
                    <a:pt x="828" y="641"/>
                    <a:pt x="833" y="636"/>
                  </a:cubicBezTo>
                  <a:cubicBezTo>
                    <a:pt x="838" y="632"/>
                    <a:pt x="848" y="632"/>
                    <a:pt x="858" y="633"/>
                  </a:cubicBezTo>
                  <a:cubicBezTo>
                    <a:pt x="873" y="634"/>
                    <a:pt x="891" y="635"/>
                    <a:pt x="903" y="620"/>
                  </a:cubicBezTo>
                  <a:cubicBezTo>
                    <a:pt x="914" y="607"/>
                    <a:pt x="912" y="588"/>
                    <a:pt x="897" y="564"/>
                  </a:cubicBezTo>
                  <a:cubicBezTo>
                    <a:pt x="832" y="459"/>
                    <a:pt x="832" y="459"/>
                    <a:pt x="832" y="459"/>
                  </a:cubicBezTo>
                  <a:cubicBezTo>
                    <a:pt x="825" y="447"/>
                    <a:pt x="818" y="436"/>
                    <a:pt x="814" y="423"/>
                  </a:cubicBezTo>
                  <a:cubicBezTo>
                    <a:pt x="810" y="412"/>
                    <a:pt x="809" y="401"/>
                    <a:pt x="808" y="389"/>
                  </a:cubicBezTo>
                  <a:cubicBezTo>
                    <a:pt x="808" y="386"/>
                    <a:pt x="807" y="383"/>
                    <a:pt x="807" y="380"/>
                  </a:cubicBezTo>
                  <a:cubicBezTo>
                    <a:pt x="791" y="230"/>
                    <a:pt x="684" y="97"/>
                    <a:pt x="541" y="48"/>
                  </a:cubicBezTo>
                  <a:cubicBezTo>
                    <a:pt x="400" y="0"/>
                    <a:pt x="238" y="40"/>
                    <a:pt x="129" y="149"/>
                  </a:cubicBezTo>
                  <a:cubicBezTo>
                    <a:pt x="66" y="212"/>
                    <a:pt x="28" y="303"/>
                    <a:pt x="23" y="400"/>
                  </a:cubicBezTo>
                  <a:cubicBezTo>
                    <a:pt x="18" y="498"/>
                    <a:pt x="48" y="592"/>
                    <a:pt x="106" y="667"/>
                  </a:cubicBezTo>
                  <a:cubicBezTo>
                    <a:pt x="136" y="667"/>
                    <a:pt x="136" y="667"/>
                    <a:pt x="136" y="667"/>
                  </a:cubicBezTo>
                  <a:cubicBezTo>
                    <a:pt x="136" y="667"/>
                    <a:pt x="136" y="667"/>
                    <a:pt x="135" y="6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5" name="Freeform 41"/>
            <p:cNvSpPr>
              <a:spLocks/>
            </p:cNvSpPr>
            <p:nvPr userDrawn="1"/>
          </p:nvSpPr>
          <p:spPr bwMode="auto">
            <a:xfrm>
              <a:off x="28230513" y="-8697913"/>
              <a:ext cx="2433638" cy="2101850"/>
            </a:xfrm>
            <a:custGeom>
              <a:avLst/>
              <a:gdLst>
                <a:gd name="T0" fmla="*/ 769 w 769"/>
                <a:gd name="T1" fmla="*/ 131 h 664"/>
                <a:gd name="T2" fmla="*/ 372 w 769"/>
                <a:gd name="T3" fmla="*/ 45 h 664"/>
                <a:gd name="T4" fmla="*/ 106 w 769"/>
                <a:gd name="T5" fmla="*/ 377 h 664"/>
                <a:gd name="T6" fmla="*/ 105 w 769"/>
                <a:gd name="T7" fmla="*/ 386 h 664"/>
                <a:gd name="T8" fmla="*/ 100 w 769"/>
                <a:gd name="T9" fmla="*/ 420 h 664"/>
                <a:gd name="T10" fmla="*/ 81 w 769"/>
                <a:gd name="T11" fmla="*/ 456 h 664"/>
                <a:gd name="T12" fmla="*/ 16 w 769"/>
                <a:gd name="T13" fmla="*/ 561 h 664"/>
                <a:gd name="T14" fmla="*/ 11 w 769"/>
                <a:gd name="T15" fmla="*/ 617 h 664"/>
                <a:gd name="T16" fmla="*/ 55 w 769"/>
                <a:gd name="T17" fmla="*/ 630 h 664"/>
                <a:gd name="T18" fmla="*/ 80 w 769"/>
                <a:gd name="T19" fmla="*/ 633 h 664"/>
                <a:gd name="T20" fmla="*/ 85 w 769"/>
                <a:gd name="T21" fmla="*/ 656 h 664"/>
                <a:gd name="T22" fmla="*/ 85 w 769"/>
                <a:gd name="T23" fmla="*/ 664 h 664"/>
                <a:gd name="T24" fmla="*/ 108 w 769"/>
                <a:gd name="T25" fmla="*/ 664 h 664"/>
                <a:gd name="T26" fmla="*/ 108 w 769"/>
                <a:gd name="T27" fmla="*/ 656 h 664"/>
                <a:gd name="T28" fmla="*/ 97 w 769"/>
                <a:gd name="T29" fmla="*/ 617 h 664"/>
                <a:gd name="T30" fmla="*/ 54 w 769"/>
                <a:gd name="T31" fmla="*/ 607 h 664"/>
                <a:gd name="T32" fmla="*/ 29 w 769"/>
                <a:gd name="T33" fmla="*/ 603 h 664"/>
                <a:gd name="T34" fmla="*/ 36 w 769"/>
                <a:gd name="T35" fmla="*/ 573 h 664"/>
                <a:gd name="T36" fmla="*/ 101 w 769"/>
                <a:gd name="T37" fmla="*/ 468 h 664"/>
                <a:gd name="T38" fmla="*/ 122 w 769"/>
                <a:gd name="T39" fmla="*/ 427 h 664"/>
                <a:gd name="T40" fmla="*/ 128 w 769"/>
                <a:gd name="T41" fmla="*/ 388 h 664"/>
                <a:gd name="T42" fmla="*/ 129 w 769"/>
                <a:gd name="T43" fmla="*/ 379 h 664"/>
                <a:gd name="T44" fmla="*/ 380 w 769"/>
                <a:gd name="T45" fmla="*/ 67 h 664"/>
                <a:gd name="T46" fmla="*/ 768 w 769"/>
                <a:gd name="T47" fmla="*/ 162 h 664"/>
                <a:gd name="T48" fmla="*/ 769 w 769"/>
                <a:gd name="T49" fmla="*/ 163 h 664"/>
                <a:gd name="T50" fmla="*/ 769 w 769"/>
                <a:gd name="T51" fmla="*/ 131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9" h="664">
                  <a:moveTo>
                    <a:pt x="769" y="131"/>
                  </a:moveTo>
                  <a:cubicBezTo>
                    <a:pt x="661" y="33"/>
                    <a:pt x="507" y="0"/>
                    <a:pt x="372" y="45"/>
                  </a:cubicBezTo>
                  <a:cubicBezTo>
                    <a:pt x="229" y="94"/>
                    <a:pt x="123" y="227"/>
                    <a:pt x="106" y="377"/>
                  </a:cubicBezTo>
                  <a:cubicBezTo>
                    <a:pt x="106" y="380"/>
                    <a:pt x="106" y="383"/>
                    <a:pt x="105" y="386"/>
                  </a:cubicBezTo>
                  <a:cubicBezTo>
                    <a:pt x="104" y="398"/>
                    <a:pt x="103" y="409"/>
                    <a:pt x="100" y="420"/>
                  </a:cubicBezTo>
                  <a:cubicBezTo>
                    <a:pt x="96" y="433"/>
                    <a:pt x="88" y="444"/>
                    <a:pt x="81" y="456"/>
                  </a:cubicBezTo>
                  <a:cubicBezTo>
                    <a:pt x="16" y="561"/>
                    <a:pt x="16" y="561"/>
                    <a:pt x="16" y="561"/>
                  </a:cubicBezTo>
                  <a:cubicBezTo>
                    <a:pt x="2" y="585"/>
                    <a:pt x="0" y="604"/>
                    <a:pt x="11" y="617"/>
                  </a:cubicBezTo>
                  <a:cubicBezTo>
                    <a:pt x="22" y="632"/>
                    <a:pt x="40" y="631"/>
                    <a:pt x="55" y="630"/>
                  </a:cubicBezTo>
                  <a:cubicBezTo>
                    <a:pt x="66" y="629"/>
                    <a:pt x="76" y="629"/>
                    <a:pt x="80" y="633"/>
                  </a:cubicBezTo>
                  <a:cubicBezTo>
                    <a:pt x="85" y="638"/>
                    <a:pt x="85" y="647"/>
                    <a:pt x="85" y="656"/>
                  </a:cubicBezTo>
                  <a:cubicBezTo>
                    <a:pt x="85" y="664"/>
                    <a:pt x="85" y="664"/>
                    <a:pt x="85" y="664"/>
                  </a:cubicBezTo>
                  <a:cubicBezTo>
                    <a:pt x="108" y="664"/>
                    <a:pt x="108" y="664"/>
                    <a:pt x="108" y="664"/>
                  </a:cubicBezTo>
                  <a:cubicBezTo>
                    <a:pt x="108" y="656"/>
                    <a:pt x="108" y="656"/>
                    <a:pt x="108" y="656"/>
                  </a:cubicBezTo>
                  <a:cubicBezTo>
                    <a:pt x="108" y="646"/>
                    <a:pt x="108" y="628"/>
                    <a:pt x="97" y="617"/>
                  </a:cubicBezTo>
                  <a:cubicBezTo>
                    <a:pt x="84" y="605"/>
                    <a:pt x="67" y="606"/>
                    <a:pt x="54" y="607"/>
                  </a:cubicBezTo>
                  <a:cubicBezTo>
                    <a:pt x="41" y="608"/>
                    <a:pt x="32" y="608"/>
                    <a:pt x="29" y="603"/>
                  </a:cubicBezTo>
                  <a:cubicBezTo>
                    <a:pt x="23" y="596"/>
                    <a:pt x="30" y="583"/>
                    <a:pt x="36" y="573"/>
                  </a:cubicBezTo>
                  <a:cubicBezTo>
                    <a:pt x="101" y="468"/>
                    <a:pt x="101" y="468"/>
                    <a:pt x="101" y="468"/>
                  </a:cubicBezTo>
                  <a:cubicBezTo>
                    <a:pt x="109" y="455"/>
                    <a:pt x="117" y="442"/>
                    <a:pt x="122" y="427"/>
                  </a:cubicBezTo>
                  <a:cubicBezTo>
                    <a:pt x="126" y="414"/>
                    <a:pt x="127" y="401"/>
                    <a:pt x="128" y="388"/>
                  </a:cubicBezTo>
                  <a:cubicBezTo>
                    <a:pt x="129" y="385"/>
                    <a:pt x="129" y="382"/>
                    <a:pt x="129" y="379"/>
                  </a:cubicBezTo>
                  <a:cubicBezTo>
                    <a:pt x="144" y="241"/>
                    <a:pt x="247" y="112"/>
                    <a:pt x="380" y="67"/>
                  </a:cubicBezTo>
                  <a:cubicBezTo>
                    <a:pt x="513" y="22"/>
                    <a:pt x="666" y="59"/>
                    <a:pt x="768" y="162"/>
                  </a:cubicBezTo>
                  <a:cubicBezTo>
                    <a:pt x="769" y="163"/>
                    <a:pt x="769" y="163"/>
                    <a:pt x="769" y="163"/>
                  </a:cubicBezTo>
                  <a:lnTo>
                    <a:pt x="769"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6" name="Freeform 42"/>
            <p:cNvSpPr>
              <a:spLocks/>
            </p:cNvSpPr>
            <p:nvPr userDrawn="1"/>
          </p:nvSpPr>
          <p:spPr bwMode="auto">
            <a:xfrm>
              <a:off x="24110950" y="-11606213"/>
              <a:ext cx="6553200" cy="5010150"/>
            </a:xfrm>
            <a:custGeom>
              <a:avLst/>
              <a:gdLst>
                <a:gd name="T0" fmla="*/ 2070 w 2070"/>
                <a:gd name="T1" fmla="*/ 427 h 1583"/>
                <a:gd name="T2" fmla="*/ 1168 w 2070"/>
                <a:gd name="T3" fmla="*/ 0 h 1583"/>
                <a:gd name="T4" fmla="*/ 0 w 2070"/>
                <a:gd name="T5" fmla="*/ 1168 h 1583"/>
                <a:gd name="T6" fmla="*/ 76 w 2070"/>
                <a:gd name="T7" fmla="*/ 1583 h 1583"/>
                <a:gd name="T8" fmla="*/ 101 w 2070"/>
                <a:gd name="T9" fmla="*/ 1583 h 1583"/>
                <a:gd name="T10" fmla="*/ 23 w 2070"/>
                <a:gd name="T11" fmla="*/ 1168 h 1583"/>
                <a:gd name="T12" fmla="*/ 1168 w 2070"/>
                <a:gd name="T13" fmla="*/ 23 h 1583"/>
                <a:gd name="T14" fmla="*/ 2070 w 2070"/>
                <a:gd name="T15" fmla="*/ 464 h 1583"/>
                <a:gd name="T16" fmla="*/ 2070 w 2070"/>
                <a:gd name="T17" fmla="*/ 427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0" h="1583">
                  <a:moveTo>
                    <a:pt x="2070" y="427"/>
                  </a:moveTo>
                  <a:cubicBezTo>
                    <a:pt x="1856" y="167"/>
                    <a:pt x="1531" y="0"/>
                    <a:pt x="1168" y="0"/>
                  </a:cubicBezTo>
                  <a:cubicBezTo>
                    <a:pt x="524" y="0"/>
                    <a:pt x="0" y="524"/>
                    <a:pt x="0" y="1168"/>
                  </a:cubicBezTo>
                  <a:cubicBezTo>
                    <a:pt x="0" y="1314"/>
                    <a:pt x="27" y="1454"/>
                    <a:pt x="76" y="1583"/>
                  </a:cubicBezTo>
                  <a:cubicBezTo>
                    <a:pt x="101" y="1583"/>
                    <a:pt x="101" y="1583"/>
                    <a:pt x="101" y="1583"/>
                  </a:cubicBezTo>
                  <a:cubicBezTo>
                    <a:pt x="50" y="1455"/>
                    <a:pt x="23" y="1315"/>
                    <a:pt x="23" y="1168"/>
                  </a:cubicBezTo>
                  <a:cubicBezTo>
                    <a:pt x="23" y="537"/>
                    <a:pt x="536" y="23"/>
                    <a:pt x="1168" y="23"/>
                  </a:cubicBezTo>
                  <a:cubicBezTo>
                    <a:pt x="1534" y="23"/>
                    <a:pt x="1860" y="196"/>
                    <a:pt x="2070" y="464"/>
                  </a:cubicBezTo>
                  <a:lnTo>
                    <a:pt x="2070"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64" name="Rechteck 13"/>
          <p:cNvSpPr/>
          <p:nvPr userDrawn="1"/>
        </p:nvSpPr>
        <p:spPr bwMode="gray">
          <a:xfrm rot="540000">
            <a:off x="5561892" y="-236851"/>
            <a:ext cx="2451100" cy="7331702"/>
          </a:xfrm>
          <a:custGeom>
            <a:avLst/>
            <a:gdLst/>
            <a:ahLst/>
            <a:cxnLst/>
            <a:rect l="l" t="t" r="r" b="b"/>
            <a:pathLst>
              <a:path w="2451100" h="7331702">
                <a:moveTo>
                  <a:pt x="0" y="388216"/>
                </a:moveTo>
                <a:lnTo>
                  <a:pt x="2451100" y="0"/>
                </a:lnTo>
                <a:lnTo>
                  <a:pt x="2451100" y="6943486"/>
                </a:lnTo>
                <a:lnTo>
                  <a:pt x="0" y="733170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26" name="Subtitle 2"/>
          <p:cNvSpPr>
            <a:spLocks noGrp="1"/>
          </p:cNvSpPr>
          <p:nvPr>
            <p:ph type="subTitle" idx="1" hasCustomPrompt="1"/>
          </p:nvPr>
        </p:nvSpPr>
        <p:spPr bwMode="black">
          <a:xfrm>
            <a:off x="1023467" y="1736974"/>
            <a:ext cx="5180484" cy="720000"/>
          </a:xfrm>
        </p:spPr>
        <p:txBody>
          <a:bodyPr anchor="t"/>
          <a:lstStyle>
            <a:lvl1pPr marL="0" indent="0" algn="l">
              <a:buNone/>
              <a:defRPr sz="3200" b="0">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dirty="0"/>
              <a:t>Insert </a:t>
            </a:r>
            <a:r>
              <a:rPr lang="de-DE" dirty="0" err="1"/>
              <a:t>text</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 name="Title 1"/>
          <p:cNvSpPr>
            <a:spLocks noGrp="1"/>
          </p:cNvSpPr>
          <p:nvPr>
            <p:ph type="title" hasCustomPrompt="1"/>
          </p:nvPr>
        </p:nvSpPr>
        <p:spPr bwMode="black">
          <a:xfrm>
            <a:off x="1518640" y="2468898"/>
            <a:ext cx="4140000" cy="1440753"/>
          </a:xfrm>
        </p:spPr>
        <p:txBody>
          <a:bodyPr anchor="t"/>
          <a:lstStyle>
            <a:lvl1pPr algn="l">
              <a:defRPr sz="7200" i="1">
                <a:solidFill>
                  <a:schemeClr val="bg1"/>
                </a:solidFill>
              </a:defRPr>
            </a:lvl1pPr>
          </a:lstStyle>
          <a:p>
            <a:r>
              <a:rPr lang="de-DE" dirty="0"/>
              <a:t>Insert </a:t>
            </a:r>
            <a:r>
              <a:rPr lang="de-DE" dirty="0" err="1"/>
              <a:t>text</a:t>
            </a:r>
            <a:endParaRPr lang="en-US" dirty="0"/>
          </a:p>
        </p:txBody>
      </p:sp>
      <p:sp>
        <p:nvSpPr>
          <p:cNvPr id="10" name="Datumsplatzhalter 9"/>
          <p:cNvSpPr>
            <a:spLocks noGrp="1"/>
          </p:cNvSpPr>
          <p:nvPr>
            <p:ph type="dt" sz="half" idx="10"/>
          </p:nvPr>
        </p:nvSpPr>
        <p:spPr/>
        <p:txBody>
          <a:bodyPr/>
          <a:lstStyle/>
          <a:p>
            <a:endParaRPr lang="en-US" dirty="0"/>
          </a:p>
        </p:txBody>
      </p:sp>
      <p:sp>
        <p:nvSpPr>
          <p:cNvPr id="11" name="Fußzeilenplatzhalter 10"/>
          <p:cNvSpPr>
            <a:spLocks noGrp="1"/>
          </p:cNvSpPr>
          <p:nvPr>
            <p:ph type="ftr" sz="quarter" idx="11"/>
          </p:nvPr>
        </p:nvSpPr>
        <p:spPr/>
        <p:txBody>
          <a:bodyPr/>
          <a:lstStyle>
            <a:lvl1pPr>
              <a:defRPr>
                <a:solidFill>
                  <a:schemeClr val="bg1"/>
                </a:solidFill>
              </a:defRPr>
            </a:lvl1pPr>
          </a:lstStyle>
          <a:p>
            <a:r>
              <a:rPr lang="en-US">
                <a:solidFill>
                  <a:srgbClr val="FFFFFF"/>
                </a:solidFill>
              </a:rPr>
              <a:t>/// Advancing Innovation at Bayer /// May 2019</a:t>
            </a:r>
            <a:endParaRPr lang="en-US" dirty="0">
              <a:solidFill>
                <a:srgbClr val="FFFFFF"/>
              </a:solidFill>
            </a:endParaRPr>
          </a:p>
        </p:txBody>
      </p:sp>
      <p:sp>
        <p:nvSpPr>
          <p:cNvPr id="12" name="Foliennummernplatzhalter 11"/>
          <p:cNvSpPr>
            <a:spLocks noGrp="1"/>
          </p:cNvSpPr>
          <p:nvPr>
            <p:ph type="sldNum" sz="quarter" idx="12"/>
          </p:nvPr>
        </p:nvSpPr>
        <p:spPr/>
        <p:txBody>
          <a:bodyPr/>
          <a:lstStyle>
            <a:lvl1pPr>
              <a:defRPr>
                <a:solidFill>
                  <a:schemeClr val="bg1"/>
                </a:solidFill>
              </a:defRPr>
            </a:lvl1pPr>
          </a:lstStyle>
          <a:p>
            <a:fld id="{EEAD9179-7A6B-4268-BEB2-F3B8EB06115B}" type="slidenum">
              <a:rPr lang="en-US" smtClean="0">
                <a:solidFill>
                  <a:srgbClr val="FFFFFF"/>
                </a:solidFill>
              </a:rPr>
              <a:pPr/>
              <a:t>‹#›</a:t>
            </a:fld>
            <a:endParaRPr lang="en-US" dirty="0">
              <a:solidFill>
                <a:srgbClr val="FFFFFF"/>
              </a:solidFill>
            </a:endParaRPr>
          </a:p>
        </p:txBody>
      </p:sp>
      <p:sp>
        <p:nvSpPr>
          <p:cNvPr id="62" name="Rechteck 5"/>
          <p:cNvSpPr/>
          <p:nvPr userDrawn="1"/>
        </p:nvSpPr>
        <p:spPr bwMode="gray">
          <a:xfrm rot="2760000">
            <a:off x="10257617" y="2334551"/>
            <a:ext cx="41621" cy="5356151"/>
          </a:xfrm>
          <a:custGeom>
            <a:avLst/>
            <a:gdLst/>
            <a:ahLst/>
            <a:cxnLst/>
            <a:rect l="l" t="t" r="r" b="b"/>
            <a:pathLst>
              <a:path w="41621" h="5356151">
                <a:moveTo>
                  <a:pt x="0" y="0"/>
                </a:moveTo>
                <a:lnTo>
                  <a:pt x="41621" y="40193"/>
                </a:lnTo>
                <a:lnTo>
                  <a:pt x="41621" y="5313051"/>
                </a:lnTo>
                <a:lnTo>
                  <a:pt x="0" y="535615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63" name="Rechteck 9"/>
          <p:cNvSpPr/>
          <p:nvPr userDrawn="1"/>
        </p:nvSpPr>
        <p:spPr bwMode="gray">
          <a:xfrm rot="540000">
            <a:off x="8003954" y="-46531"/>
            <a:ext cx="47836" cy="6951062"/>
          </a:xfrm>
          <a:custGeom>
            <a:avLst/>
            <a:gdLst/>
            <a:ahLst/>
            <a:cxnLst/>
            <a:rect l="l" t="t" r="r" b="b"/>
            <a:pathLst>
              <a:path w="47836" h="6951062">
                <a:moveTo>
                  <a:pt x="47836" y="0"/>
                </a:moveTo>
                <a:lnTo>
                  <a:pt x="47836" y="6943486"/>
                </a:lnTo>
                <a:lnTo>
                  <a:pt x="0" y="6951062"/>
                </a:lnTo>
                <a:lnTo>
                  <a:pt x="1" y="757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65" name="Gruppieren 64"/>
          <p:cNvGrpSpPr/>
          <p:nvPr userDrawn="1"/>
        </p:nvGrpSpPr>
        <p:grpSpPr>
          <a:xfrm>
            <a:off x="-48229" y="1770319"/>
            <a:ext cx="916769" cy="412749"/>
            <a:chOff x="863771" y="2247417"/>
            <a:chExt cx="916769" cy="294170"/>
          </a:xfrm>
        </p:grpSpPr>
        <p:cxnSp>
          <p:nvCxnSpPr>
            <p:cNvPr id="74" name="Gerade Verbindung 73"/>
            <p:cNvCxnSpPr/>
            <p:nvPr/>
          </p:nvCxnSpPr>
          <p:spPr bwMode="gray">
            <a:xfrm rot="900000" flipV="1">
              <a:off x="86377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rot="900000" flipV="1">
              <a:off x="94016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rot="900000" flipV="1">
              <a:off x="1016565"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bwMode="gray">
            <a:xfrm rot="900000" flipV="1">
              <a:off x="1092962"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bwMode="gray">
            <a:xfrm rot="900000" flipV="1">
              <a:off x="1169359"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bwMode="gray">
            <a:xfrm rot="900000" flipV="1">
              <a:off x="1245756"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p:nvCxnSpPr>
          <p:spPr bwMode="gray">
            <a:xfrm rot="900000" flipV="1">
              <a:off x="1322153"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bwMode="gray">
            <a:xfrm rot="900000" flipV="1">
              <a:off x="139855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p:nvCxnSpPr>
          <p:spPr bwMode="gray">
            <a:xfrm rot="900000" flipV="1">
              <a:off x="1474947"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rot="900000" flipV="1">
              <a:off x="1551344"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rot="900000" flipV="1">
              <a:off x="162774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rot="900000" flipV="1">
              <a:off x="170413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rot="900000" flipV="1">
              <a:off x="178054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953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accent4"/>
        </a:solidFill>
        <a:effectLst/>
      </p:bgPr>
    </p:bg>
    <p:spTree>
      <p:nvGrpSpPr>
        <p:cNvPr id="1" name=""/>
        <p:cNvGrpSpPr/>
        <p:nvPr/>
      </p:nvGrpSpPr>
      <p:grpSpPr>
        <a:xfrm>
          <a:off x="0" y="0"/>
          <a:ext cx="0" cy="0"/>
          <a:chOff x="0" y="0"/>
          <a:chExt cx="0" cy="0"/>
        </a:xfrm>
      </p:grpSpPr>
      <p:grpSp>
        <p:nvGrpSpPr>
          <p:cNvPr id="103" name="Gruppieren 102"/>
          <p:cNvGrpSpPr/>
          <p:nvPr userDrawn="1"/>
        </p:nvGrpSpPr>
        <p:grpSpPr>
          <a:xfrm>
            <a:off x="6973899" y="-4297"/>
            <a:ext cx="5222223" cy="4790833"/>
            <a:chOff x="24110950" y="60325"/>
            <a:chExt cx="6553200" cy="6011863"/>
          </a:xfrm>
          <a:solidFill>
            <a:srgbClr val="5B9639"/>
          </a:solidFill>
        </p:grpSpPr>
        <p:sp>
          <p:nvSpPr>
            <p:cNvPr id="104" name="Freeform 43"/>
            <p:cNvSpPr>
              <a:spLocks/>
            </p:cNvSpPr>
            <p:nvPr userDrawn="1"/>
          </p:nvSpPr>
          <p:spPr bwMode="auto">
            <a:xfrm>
              <a:off x="27808238" y="60325"/>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1"/>
                    <a:pt x="100" y="0"/>
                    <a:pt x="0" y="0"/>
                  </a:cubicBezTo>
                  <a:cubicBezTo>
                    <a:pt x="0" y="23"/>
                    <a:pt x="0" y="23"/>
                    <a:pt x="0" y="23"/>
                  </a:cubicBezTo>
                  <a:cubicBezTo>
                    <a:pt x="87" y="23"/>
                    <a:pt x="158" y="94"/>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5" name="Rectangle 44"/>
            <p:cNvSpPr>
              <a:spLocks noChangeArrowheads="1"/>
            </p:cNvSpPr>
            <p:nvPr userDrawn="1"/>
          </p:nvSpPr>
          <p:spPr bwMode="auto">
            <a:xfrm>
              <a:off x="26523950" y="595312"/>
              <a:ext cx="392113"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6" name="Freeform 45"/>
            <p:cNvSpPr>
              <a:spLocks/>
            </p:cNvSpPr>
            <p:nvPr userDrawn="1"/>
          </p:nvSpPr>
          <p:spPr bwMode="auto">
            <a:xfrm>
              <a:off x="26874788" y="1238250"/>
              <a:ext cx="325438" cy="328613"/>
            </a:xfrm>
            <a:custGeom>
              <a:avLst/>
              <a:gdLst>
                <a:gd name="T0" fmla="*/ 0 w 205"/>
                <a:gd name="T1" fmla="*/ 173 h 207"/>
                <a:gd name="T2" fmla="*/ 32 w 205"/>
                <a:gd name="T3" fmla="*/ 207 h 207"/>
                <a:gd name="T4" fmla="*/ 205 w 205"/>
                <a:gd name="T5" fmla="*/ 34 h 207"/>
                <a:gd name="T6" fmla="*/ 173 w 205"/>
                <a:gd name="T7" fmla="*/ 0 h 207"/>
                <a:gd name="T8" fmla="*/ 0 w 205"/>
                <a:gd name="T9" fmla="*/ 173 h 207"/>
              </a:gdLst>
              <a:ahLst/>
              <a:cxnLst>
                <a:cxn ang="0">
                  <a:pos x="T0" y="T1"/>
                </a:cxn>
                <a:cxn ang="0">
                  <a:pos x="T2" y="T3"/>
                </a:cxn>
                <a:cxn ang="0">
                  <a:pos x="T4" y="T5"/>
                </a:cxn>
                <a:cxn ang="0">
                  <a:pos x="T6" y="T7"/>
                </a:cxn>
                <a:cxn ang="0">
                  <a:pos x="T8" y="T9"/>
                </a:cxn>
              </a:cxnLst>
              <a:rect l="0" t="0" r="r" b="b"/>
              <a:pathLst>
                <a:path w="205" h="207">
                  <a:moveTo>
                    <a:pt x="0" y="173"/>
                  </a:moveTo>
                  <a:lnTo>
                    <a:pt x="32" y="207"/>
                  </a:lnTo>
                  <a:lnTo>
                    <a:pt x="205" y="34"/>
                  </a:lnTo>
                  <a:lnTo>
                    <a:pt x="173" y="0"/>
                  </a:lnTo>
                  <a:lnTo>
                    <a:pt x="0"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7" name="Rectangle 46"/>
            <p:cNvSpPr>
              <a:spLocks noChangeArrowheads="1"/>
            </p:cNvSpPr>
            <p:nvPr userDrawn="1"/>
          </p:nvSpPr>
          <p:spPr bwMode="auto">
            <a:xfrm>
              <a:off x="28702000" y="595312"/>
              <a:ext cx="388938"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8" name="Freeform 47"/>
            <p:cNvSpPr>
              <a:spLocks/>
            </p:cNvSpPr>
            <p:nvPr userDrawn="1"/>
          </p:nvSpPr>
          <p:spPr bwMode="auto">
            <a:xfrm>
              <a:off x="28413075" y="1238250"/>
              <a:ext cx="330200" cy="328613"/>
            </a:xfrm>
            <a:custGeom>
              <a:avLst/>
              <a:gdLst>
                <a:gd name="T0" fmla="*/ 0 w 208"/>
                <a:gd name="T1" fmla="*/ 34 h 207"/>
                <a:gd name="T2" fmla="*/ 174 w 208"/>
                <a:gd name="T3" fmla="*/ 207 h 207"/>
                <a:gd name="T4" fmla="*/ 208 w 208"/>
                <a:gd name="T5" fmla="*/ 173 h 207"/>
                <a:gd name="T6" fmla="*/ 32 w 208"/>
                <a:gd name="T7" fmla="*/ 0 h 207"/>
                <a:gd name="T8" fmla="*/ 0 w 208"/>
                <a:gd name="T9" fmla="*/ 34 h 207"/>
              </a:gdLst>
              <a:ahLst/>
              <a:cxnLst>
                <a:cxn ang="0">
                  <a:pos x="T0" y="T1"/>
                </a:cxn>
                <a:cxn ang="0">
                  <a:pos x="T2" y="T3"/>
                </a:cxn>
                <a:cxn ang="0">
                  <a:pos x="T4" y="T5"/>
                </a:cxn>
                <a:cxn ang="0">
                  <a:pos x="T6" y="T7"/>
                </a:cxn>
                <a:cxn ang="0">
                  <a:pos x="T8" y="T9"/>
                </a:cxn>
              </a:cxnLst>
              <a:rect l="0" t="0" r="r" b="b"/>
              <a:pathLst>
                <a:path w="208" h="207">
                  <a:moveTo>
                    <a:pt x="0" y="34"/>
                  </a:moveTo>
                  <a:lnTo>
                    <a:pt x="174" y="207"/>
                  </a:lnTo>
                  <a:lnTo>
                    <a:pt x="208" y="173"/>
                  </a:lnTo>
                  <a:lnTo>
                    <a:pt x="32" y="0"/>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09" name="Rectangle 48"/>
            <p:cNvSpPr>
              <a:spLocks noChangeArrowheads="1"/>
            </p:cNvSpPr>
            <p:nvPr userDrawn="1"/>
          </p:nvSpPr>
          <p:spPr bwMode="auto">
            <a:xfrm>
              <a:off x="27485975" y="1916112"/>
              <a:ext cx="642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0" name="Freeform 49"/>
            <p:cNvSpPr>
              <a:spLocks/>
            </p:cNvSpPr>
            <p:nvPr userDrawn="1"/>
          </p:nvSpPr>
          <p:spPr bwMode="auto">
            <a:xfrm>
              <a:off x="27014488" y="60325"/>
              <a:ext cx="1585913" cy="1735138"/>
            </a:xfrm>
            <a:custGeom>
              <a:avLst/>
              <a:gdLst>
                <a:gd name="T0" fmla="*/ 423 w 501"/>
                <a:gd name="T1" fmla="*/ 0 h 548"/>
                <a:gd name="T2" fmla="*/ 388 w 501"/>
                <a:gd name="T3" fmla="*/ 0 h 548"/>
                <a:gd name="T4" fmla="*/ 478 w 501"/>
                <a:gd name="T5" fmla="*/ 181 h 548"/>
                <a:gd name="T6" fmla="*/ 422 w 501"/>
                <a:gd name="T7" fmla="*/ 330 h 548"/>
                <a:gd name="T8" fmla="*/ 360 w 501"/>
                <a:gd name="T9" fmla="*/ 518 h 548"/>
                <a:gd name="T10" fmla="*/ 353 w 501"/>
                <a:gd name="T11" fmla="*/ 525 h 548"/>
                <a:gd name="T12" fmla="*/ 149 w 501"/>
                <a:gd name="T13" fmla="*/ 525 h 548"/>
                <a:gd name="T14" fmla="*/ 142 w 501"/>
                <a:gd name="T15" fmla="*/ 518 h 548"/>
                <a:gd name="T16" fmla="*/ 79 w 501"/>
                <a:gd name="T17" fmla="*/ 330 h 548"/>
                <a:gd name="T18" fmla="*/ 23 w 501"/>
                <a:gd name="T19" fmla="*/ 181 h 548"/>
                <a:gd name="T20" fmla="*/ 113 w 501"/>
                <a:gd name="T21" fmla="*/ 0 h 548"/>
                <a:gd name="T22" fmla="*/ 78 w 501"/>
                <a:gd name="T23" fmla="*/ 0 h 548"/>
                <a:gd name="T24" fmla="*/ 0 w 501"/>
                <a:gd name="T25" fmla="*/ 181 h 548"/>
                <a:gd name="T26" fmla="*/ 62 w 501"/>
                <a:gd name="T27" fmla="*/ 346 h 548"/>
                <a:gd name="T28" fmla="*/ 119 w 501"/>
                <a:gd name="T29" fmla="*/ 518 h 548"/>
                <a:gd name="T30" fmla="*/ 149 w 501"/>
                <a:gd name="T31" fmla="*/ 548 h 548"/>
                <a:gd name="T32" fmla="*/ 353 w 501"/>
                <a:gd name="T33" fmla="*/ 548 h 548"/>
                <a:gd name="T34" fmla="*/ 383 w 501"/>
                <a:gd name="T35" fmla="*/ 518 h 548"/>
                <a:gd name="T36" fmla="*/ 440 w 501"/>
                <a:gd name="T37" fmla="*/ 345 h 548"/>
                <a:gd name="T38" fmla="*/ 501 w 501"/>
                <a:gd name="T39" fmla="*/ 181 h 548"/>
                <a:gd name="T40" fmla="*/ 423 w 501"/>
                <a:gd name="T41"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1" h="548">
                  <a:moveTo>
                    <a:pt x="423" y="0"/>
                  </a:moveTo>
                  <a:cubicBezTo>
                    <a:pt x="388" y="0"/>
                    <a:pt x="388" y="0"/>
                    <a:pt x="388" y="0"/>
                  </a:cubicBezTo>
                  <a:cubicBezTo>
                    <a:pt x="443" y="41"/>
                    <a:pt x="478" y="107"/>
                    <a:pt x="478" y="181"/>
                  </a:cubicBezTo>
                  <a:cubicBezTo>
                    <a:pt x="478" y="236"/>
                    <a:pt x="458" y="289"/>
                    <a:pt x="422" y="330"/>
                  </a:cubicBezTo>
                  <a:cubicBezTo>
                    <a:pt x="420" y="333"/>
                    <a:pt x="360" y="400"/>
                    <a:pt x="360" y="518"/>
                  </a:cubicBezTo>
                  <a:cubicBezTo>
                    <a:pt x="360" y="523"/>
                    <a:pt x="357" y="525"/>
                    <a:pt x="353" y="525"/>
                  </a:cubicBezTo>
                  <a:cubicBezTo>
                    <a:pt x="149" y="525"/>
                    <a:pt x="149" y="525"/>
                    <a:pt x="149" y="525"/>
                  </a:cubicBezTo>
                  <a:cubicBezTo>
                    <a:pt x="144" y="525"/>
                    <a:pt x="142" y="523"/>
                    <a:pt x="142" y="518"/>
                  </a:cubicBezTo>
                  <a:cubicBezTo>
                    <a:pt x="142" y="400"/>
                    <a:pt x="82" y="333"/>
                    <a:pt x="79" y="330"/>
                  </a:cubicBezTo>
                  <a:cubicBezTo>
                    <a:pt x="43" y="289"/>
                    <a:pt x="23" y="236"/>
                    <a:pt x="23" y="181"/>
                  </a:cubicBezTo>
                  <a:cubicBezTo>
                    <a:pt x="23" y="107"/>
                    <a:pt x="59" y="41"/>
                    <a:pt x="113" y="0"/>
                  </a:cubicBezTo>
                  <a:cubicBezTo>
                    <a:pt x="78" y="0"/>
                    <a:pt x="78" y="0"/>
                    <a:pt x="78" y="0"/>
                  </a:cubicBezTo>
                  <a:cubicBezTo>
                    <a:pt x="30" y="45"/>
                    <a:pt x="0" y="110"/>
                    <a:pt x="0" y="181"/>
                  </a:cubicBezTo>
                  <a:cubicBezTo>
                    <a:pt x="0" y="241"/>
                    <a:pt x="22" y="300"/>
                    <a:pt x="62" y="346"/>
                  </a:cubicBezTo>
                  <a:cubicBezTo>
                    <a:pt x="63" y="346"/>
                    <a:pt x="119" y="409"/>
                    <a:pt x="119" y="518"/>
                  </a:cubicBezTo>
                  <a:cubicBezTo>
                    <a:pt x="119" y="536"/>
                    <a:pt x="131" y="548"/>
                    <a:pt x="149" y="548"/>
                  </a:cubicBezTo>
                  <a:cubicBezTo>
                    <a:pt x="353" y="548"/>
                    <a:pt x="353" y="548"/>
                    <a:pt x="353" y="548"/>
                  </a:cubicBezTo>
                  <a:cubicBezTo>
                    <a:pt x="370" y="548"/>
                    <a:pt x="383" y="536"/>
                    <a:pt x="383" y="518"/>
                  </a:cubicBezTo>
                  <a:cubicBezTo>
                    <a:pt x="383" y="409"/>
                    <a:pt x="439" y="346"/>
                    <a:pt x="440" y="345"/>
                  </a:cubicBezTo>
                  <a:cubicBezTo>
                    <a:pt x="479" y="300"/>
                    <a:pt x="501" y="241"/>
                    <a:pt x="501" y="181"/>
                  </a:cubicBezTo>
                  <a:cubicBezTo>
                    <a:pt x="501" y="110"/>
                    <a:pt x="471" y="45"/>
                    <a:pt x="4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1" name="Freeform 50"/>
            <p:cNvSpPr>
              <a:spLocks noEditPoints="1"/>
            </p:cNvSpPr>
            <p:nvPr userDrawn="1"/>
          </p:nvSpPr>
          <p:spPr bwMode="auto">
            <a:xfrm>
              <a:off x="24110950" y="60325"/>
              <a:ext cx="6553200" cy="6011863"/>
            </a:xfrm>
            <a:custGeom>
              <a:avLst/>
              <a:gdLst>
                <a:gd name="T0" fmla="*/ 2047 w 2070"/>
                <a:gd name="T1" fmla="*/ 1314 h 1899"/>
                <a:gd name="T2" fmla="*/ 2070 w 2070"/>
                <a:gd name="T3" fmla="*/ 1190 h 1899"/>
                <a:gd name="T4" fmla="*/ 2064 w 2070"/>
                <a:gd name="T5" fmla="*/ 1163 h 1899"/>
                <a:gd name="T6" fmla="*/ 2024 w 2070"/>
                <a:gd name="T7" fmla="*/ 1319 h 1899"/>
                <a:gd name="T8" fmla="*/ 1279 w 2070"/>
                <a:gd name="T9" fmla="*/ 1870 h 1899"/>
                <a:gd name="T10" fmla="*/ 1614 w 2070"/>
                <a:gd name="T11" fmla="*/ 1454 h 1899"/>
                <a:gd name="T12" fmla="*/ 1608 w 2070"/>
                <a:gd name="T13" fmla="*/ 1327 h 1899"/>
                <a:gd name="T14" fmla="*/ 1433 w 2070"/>
                <a:gd name="T15" fmla="*/ 1311 h 1899"/>
                <a:gd name="T16" fmla="*/ 1409 w 2070"/>
                <a:gd name="T17" fmla="*/ 1288 h 1899"/>
                <a:gd name="T18" fmla="*/ 1398 w 2070"/>
                <a:gd name="T19" fmla="*/ 1098 h 1899"/>
                <a:gd name="T20" fmla="*/ 1330 w 2070"/>
                <a:gd name="T21" fmla="*/ 1084 h 1899"/>
                <a:gd name="T22" fmla="*/ 1402 w 2070"/>
                <a:gd name="T23" fmla="*/ 950 h 1899"/>
                <a:gd name="T24" fmla="*/ 1429 w 2070"/>
                <a:gd name="T25" fmla="*/ 869 h 1899"/>
                <a:gd name="T26" fmla="*/ 1681 w 2070"/>
                <a:gd name="T27" fmla="*/ 549 h 1899"/>
                <a:gd name="T28" fmla="*/ 2070 w 2070"/>
                <a:gd name="T29" fmla="*/ 645 h 1899"/>
                <a:gd name="T30" fmla="*/ 1673 w 2070"/>
                <a:gd name="T31" fmla="*/ 527 h 1899"/>
                <a:gd name="T32" fmla="*/ 1406 w 2070"/>
                <a:gd name="T33" fmla="*/ 867 h 1899"/>
                <a:gd name="T34" fmla="*/ 1382 w 2070"/>
                <a:gd name="T35" fmla="*/ 938 h 1899"/>
                <a:gd name="T36" fmla="*/ 1312 w 2070"/>
                <a:gd name="T37" fmla="*/ 1099 h 1899"/>
                <a:gd name="T38" fmla="*/ 1381 w 2070"/>
                <a:gd name="T39" fmla="*/ 1115 h 1899"/>
                <a:gd name="T40" fmla="*/ 1386 w 2070"/>
                <a:gd name="T41" fmla="*/ 1288 h 1899"/>
                <a:gd name="T42" fmla="*/ 1433 w 2070"/>
                <a:gd name="T43" fmla="*/ 1334 h 1899"/>
                <a:gd name="T44" fmla="*/ 1589 w 2070"/>
                <a:gd name="T45" fmla="*/ 1340 h 1899"/>
                <a:gd name="T46" fmla="*/ 1591 w 2070"/>
                <a:gd name="T47" fmla="*/ 1444 h 1899"/>
                <a:gd name="T48" fmla="*/ 1168 w 2070"/>
                <a:gd name="T49" fmla="*/ 1875 h 1899"/>
                <a:gd name="T50" fmla="*/ 744 w 2070"/>
                <a:gd name="T51" fmla="*/ 1444 h 1899"/>
                <a:gd name="T52" fmla="*/ 747 w 2070"/>
                <a:gd name="T53" fmla="*/ 1340 h 1899"/>
                <a:gd name="T54" fmla="*/ 902 w 2070"/>
                <a:gd name="T55" fmla="*/ 1334 h 1899"/>
                <a:gd name="T56" fmla="*/ 950 w 2070"/>
                <a:gd name="T57" fmla="*/ 1288 h 1899"/>
                <a:gd name="T58" fmla="*/ 954 w 2070"/>
                <a:gd name="T59" fmla="*/ 1115 h 1899"/>
                <a:gd name="T60" fmla="*/ 1024 w 2070"/>
                <a:gd name="T61" fmla="*/ 1099 h 1899"/>
                <a:gd name="T62" fmla="*/ 953 w 2070"/>
                <a:gd name="T63" fmla="*/ 938 h 1899"/>
                <a:gd name="T64" fmla="*/ 929 w 2070"/>
                <a:gd name="T65" fmla="*/ 867 h 1899"/>
                <a:gd name="T66" fmla="*/ 662 w 2070"/>
                <a:gd name="T67" fmla="*/ 527 h 1899"/>
                <a:gd name="T68" fmla="*/ 144 w 2070"/>
                <a:gd name="T69" fmla="*/ 879 h 1899"/>
                <a:gd name="T70" fmla="*/ 254 w 2070"/>
                <a:gd name="T71" fmla="*/ 1178 h 1899"/>
                <a:gd name="T72" fmla="*/ 289 w 2070"/>
                <a:gd name="T73" fmla="*/ 1313 h 1899"/>
                <a:gd name="T74" fmla="*/ 23 w 2070"/>
                <a:gd name="T75" fmla="*/ 731 h 1899"/>
                <a:gd name="T76" fmla="*/ 257 w 2070"/>
                <a:gd name="T77" fmla="*/ 0 h 1899"/>
                <a:gd name="T78" fmla="*/ 1168 w 2070"/>
                <a:gd name="T79" fmla="*/ 1899 h 1899"/>
                <a:gd name="T80" fmla="*/ 2070 w 2070"/>
                <a:gd name="T81" fmla="*/ 1402 h 1899"/>
                <a:gd name="T82" fmla="*/ 311 w 2070"/>
                <a:gd name="T83" fmla="*/ 1319 h 1899"/>
                <a:gd name="T84" fmla="*/ 272 w 2070"/>
                <a:gd name="T85" fmla="*/ 1163 h 1899"/>
                <a:gd name="T86" fmla="*/ 266 w 2070"/>
                <a:gd name="T87" fmla="*/ 644 h 1899"/>
                <a:gd name="T88" fmla="*/ 905 w 2070"/>
                <a:gd name="T89" fmla="*/ 861 h 1899"/>
                <a:gd name="T90" fmla="*/ 913 w 2070"/>
                <a:gd name="T91" fmla="*/ 909 h 1899"/>
                <a:gd name="T92" fmla="*/ 998 w 2070"/>
                <a:gd name="T93" fmla="*/ 1054 h 1899"/>
                <a:gd name="T94" fmla="*/ 981 w 2070"/>
                <a:gd name="T95" fmla="*/ 1088 h 1899"/>
                <a:gd name="T96" fmla="*/ 926 w 2070"/>
                <a:gd name="T97" fmla="*/ 1138 h 1899"/>
                <a:gd name="T98" fmla="*/ 923 w 2070"/>
                <a:gd name="T99" fmla="*/ 1307 h 1899"/>
                <a:gd name="T100" fmla="*/ 772 w 2070"/>
                <a:gd name="T101" fmla="*/ 1310 h 1899"/>
                <a:gd name="T102" fmla="*/ 721 w 2070"/>
                <a:gd name="T103" fmla="*/ 1357 h 1899"/>
                <a:gd name="T104" fmla="*/ 726 w 2070"/>
                <a:gd name="T105" fmla="*/ 1458 h 1899"/>
                <a:gd name="T106" fmla="*/ 277 w 2070"/>
                <a:gd name="T107" fmla="*/ 1449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0" h="1899">
                  <a:moveTo>
                    <a:pt x="2070" y="1402"/>
                  </a:moveTo>
                  <a:cubicBezTo>
                    <a:pt x="2047" y="1314"/>
                    <a:pt x="2047" y="1314"/>
                    <a:pt x="2047" y="1314"/>
                  </a:cubicBezTo>
                  <a:cubicBezTo>
                    <a:pt x="2037" y="1275"/>
                    <a:pt x="2039" y="1241"/>
                    <a:pt x="2053" y="1215"/>
                  </a:cubicBezTo>
                  <a:cubicBezTo>
                    <a:pt x="2058" y="1205"/>
                    <a:pt x="2063" y="1198"/>
                    <a:pt x="2070" y="1190"/>
                  </a:cubicBezTo>
                  <a:cubicBezTo>
                    <a:pt x="2070" y="1155"/>
                    <a:pt x="2070" y="1155"/>
                    <a:pt x="2070" y="1155"/>
                  </a:cubicBezTo>
                  <a:cubicBezTo>
                    <a:pt x="2068" y="1158"/>
                    <a:pt x="2066" y="1160"/>
                    <a:pt x="2064" y="1163"/>
                  </a:cubicBezTo>
                  <a:cubicBezTo>
                    <a:pt x="2052" y="1176"/>
                    <a:pt x="2041" y="1187"/>
                    <a:pt x="2032" y="1204"/>
                  </a:cubicBezTo>
                  <a:cubicBezTo>
                    <a:pt x="2016" y="1236"/>
                    <a:pt x="2013" y="1275"/>
                    <a:pt x="2024" y="1319"/>
                  </a:cubicBezTo>
                  <a:cubicBezTo>
                    <a:pt x="2059" y="1449"/>
                    <a:pt x="2059" y="1449"/>
                    <a:pt x="2059" y="1449"/>
                  </a:cubicBezTo>
                  <a:cubicBezTo>
                    <a:pt x="1871" y="1682"/>
                    <a:pt x="1593" y="1840"/>
                    <a:pt x="1279" y="1870"/>
                  </a:cubicBezTo>
                  <a:cubicBezTo>
                    <a:pt x="1305" y="1716"/>
                    <a:pt x="1607" y="1461"/>
                    <a:pt x="1610" y="1458"/>
                  </a:cubicBezTo>
                  <a:cubicBezTo>
                    <a:pt x="1614" y="1454"/>
                    <a:pt x="1614" y="1454"/>
                    <a:pt x="1614" y="1454"/>
                  </a:cubicBezTo>
                  <a:cubicBezTo>
                    <a:pt x="1614" y="1357"/>
                    <a:pt x="1614" y="1357"/>
                    <a:pt x="1614" y="1357"/>
                  </a:cubicBezTo>
                  <a:cubicBezTo>
                    <a:pt x="1614" y="1348"/>
                    <a:pt x="1614" y="1337"/>
                    <a:pt x="1608" y="1327"/>
                  </a:cubicBezTo>
                  <a:cubicBezTo>
                    <a:pt x="1596" y="1310"/>
                    <a:pt x="1574" y="1310"/>
                    <a:pt x="1563" y="1310"/>
                  </a:cubicBezTo>
                  <a:cubicBezTo>
                    <a:pt x="1433" y="1311"/>
                    <a:pt x="1433" y="1311"/>
                    <a:pt x="1433" y="1311"/>
                  </a:cubicBezTo>
                  <a:cubicBezTo>
                    <a:pt x="1425" y="1311"/>
                    <a:pt x="1416" y="1311"/>
                    <a:pt x="1412" y="1307"/>
                  </a:cubicBezTo>
                  <a:cubicBezTo>
                    <a:pt x="1409" y="1303"/>
                    <a:pt x="1409" y="1296"/>
                    <a:pt x="1409" y="1288"/>
                  </a:cubicBezTo>
                  <a:cubicBezTo>
                    <a:pt x="1409" y="1138"/>
                    <a:pt x="1409" y="1138"/>
                    <a:pt x="1409" y="1138"/>
                  </a:cubicBezTo>
                  <a:cubicBezTo>
                    <a:pt x="1409" y="1127"/>
                    <a:pt x="1409" y="1110"/>
                    <a:pt x="1398" y="1098"/>
                  </a:cubicBezTo>
                  <a:cubicBezTo>
                    <a:pt x="1385" y="1087"/>
                    <a:pt x="1368" y="1088"/>
                    <a:pt x="1355" y="1088"/>
                  </a:cubicBezTo>
                  <a:cubicBezTo>
                    <a:pt x="1342" y="1089"/>
                    <a:pt x="1333" y="1089"/>
                    <a:pt x="1330" y="1084"/>
                  </a:cubicBezTo>
                  <a:cubicBezTo>
                    <a:pt x="1324" y="1078"/>
                    <a:pt x="1331" y="1064"/>
                    <a:pt x="1337" y="1054"/>
                  </a:cubicBezTo>
                  <a:cubicBezTo>
                    <a:pt x="1402" y="950"/>
                    <a:pt x="1402" y="950"/>
                    <a:pt x="1402" y="950"/>
                  </a:cubicBezTo>
                  <a:cubicBezTo>
                    <a:pt x="1410" y="937"/>
                    <a:pt x="1418" y="924"/>
                    <a:pt x="1423" y="909"/>
                  </a:cubicBezTo>
                  <a:cubicBezTo>
                    <a:pt x="1427" y="896"/>
                    <a:pt x="1428" y="882"/>
                    <a:pt x="1429" y="869"/>
                  </a:cubicBezTo>
                  <a:cubicBezTo>
                    <a:pt x="1430" y="867"/>
                    <a:pt x="1430" y="864"/>
                    <a:pt x="1430" y="861"/>
                  </a:cubicBezTo>
                  <a:cubicBezTo>
                    <a:pt x="1445" y="722"/>
                    <a:pt x="1548" y="594"/>
                    <a:pt x="1681" y="549"/>
                  </a:cubicBezTo>
                  <a:cubicBezTo>
                    <a:pt x="1814" y="504"/>
                    <a:pt x="1967" y="541"/>
                    <a:pt x="2069" y="644"/>
                  </a:cubicBezTo>
                  <a:cubicBezTo>
                    <a:pt x="2070" y="644"/>
                    <a:pt x="2070" y="645"/>
                    <a:pt x="2070" y="645"/>
                  </a:cubicBezTo>
                  <a:cubicBezTo>
                    <a:pt x="2070" y="613"/>
                    <a:pt x="2070" y="613"/>
                    <a:pt x="2070" y="613"/>
                  </a:cubicBezTo>
                  <a:cubicBezTo>
                    <a:pt x="1962" y="515"/>
                    <a:pt x="1808" y="481"/>
                    <a:pt x="1673" y="527"/>
                  </a:cubicBezTo>
                  <a:cubicBezTo>
                    <a:pt x="1530" y="576"/>
                    <a:pt x="1424" y="709"/>
                    <a:pt x="1407" y="858"/>
                  </a:cubicBezTo>
                  <a:cubicBezTo>
                    <a:pt x="1407" y="861"/>
                    <a:pt x="1407" y="864"/>
                    <a:pt x="1406" y="867"/>
                  </a:cubicBezTo>
                  <a:cubicBezTo>
                    <a:pt x="1405" y="879"/>
                    <a:pt x="1404" y="891"/>
                    <a:pt x="1401" y="902"/>
                  </a:cubicBezTo>
                  <a:cubicBezTo>
                    <a:pt x="1397" y="914"/>
                    <a:pt x="1389" y="926"/>
                    <a:pt x="1382" y="938"/>
                  </a:cubicBezTo>
                  <a:cubicBezTo>
                    <a:pt x="1317" y="1042"/>
                    <a:pt x="1317" y="1042"/>
                    <a:pt x="1317" y="1042"/>
                  </a:cubicBezTo>
                  <a:cubicBezTo>
                    <a:pt x="1303" y="1066"/>
                    <a:pt x="1301" y="1085"/>
                    <a:pt x="1312" y="1099"/>
                  </a:cubicBezTo>
                  <a:cubicBezTo>
                    <a:pt x="1323" y="1113"/>
                    <a:pt x="1341" y="1112"/>
                    <a:pt x="1356" y="1111"/>
                  </a:cubicBezTo>
                  <a:cubicBezTo>
                    <a:pt x="1367" y="1111"/>
                    <a:pt x="1377" y="1110"/>
                    <a:pt x="1381" y="1115"/>
                  </a:cubicBezTo>
                  <a:cubicBezTo>
                    <a:pt x="1386" y="1119"/>
                    <a:pt x="1386" y="1128"/>
                    <a:pt x="1386" y="1137"/>
                  </a:cubicBezTo>
                  <a:cubicBezTo>
                    <a:pt x="1386" y="1288"/>
                    <a:pt x="1386" y="1288"/>
                    <a:pt x="1386" y="1288"/>
                  </a:cubicBezTo>
                  <a:cubicBezTo>
                    <a:pt x="1386" y="1297"/>
                    <a:pt x="1386" y="1312"/>
                    <a:pt x="1395" y="1323"/>
                  </a:cubicBezTo>
                  <a:cubicBezTo>
                    <a:pt x="1406" y="1335"/>
                    <a:pt x="1424" y="1335"/>
                    <a:pt x="1433" y="1334"/>
                  </a:cubicBezTo>
                  <a:cubicBezTo>
                    <a:pt x="1563" y="1334"/>
                    <a:pt x="1563" y="1334"/>
                    <a:pt x="1563" y="1334"/>
                  </a:cubicBezTo>
                  <a:cubicBezTo>
                    <a:pt x="1573" y="1334"/>
                    <a:pt x="1585" y="1334"/>
                    <a:pt x="1589" y="1340"/>
                  </a:cubicBezTo>
                  <a:cubicBezTo>
                    <a:pt x="1591" y="1344"/>
                    <a:pt x="1591" y="1350"/>
                    <a:pt x="1591" y="1357"/>
                  </a:cubicBezTo>
                  <a:cubicBezTo>
                    <a:pt x="1591" y="1444"/>
                    <a:pt x="1591" y="1444"/>
                    <a:pt x="1591" y="1444"/>
                  </a:cubicBezTo>
                  <a:cubicBezTo>
                    <a:pt x="1552" y="1477"/>
                    <a:pt x="1276" y="1718"/>
                    <a:pt x="1255" y="1872"/>
                  </a:cubicBezTo>
                  <a:cubicBezTo>
                    <a:pt x="1226" y="1874"/>
                    <a:pt x="1197" y="1875"/>
                    <a:pt x="1168" y="1875"/>
                  </a:cubicBezTo>
                  <a:cubicBezTo>
                    <a:pt x="1138" y="1875"/>
                    <a:pt x="1109" y="1874"/>
                    <a:pt x="1080" y="1872"/>
                  </a:cubicBezTo>
                  <a:cubicBezTo>
                    <a:pt x="1060" y="1718"/>
                    <a:pt x="783" y="1477"/>
                    <a:pt x="744" y="1444"/>
                  </a:cubicBezTo>
                  <a:cubicBezTo>
                    <a:pt x="744" y="1357"/>
                    <a:pt x="744" y="1357"/>
                    <a:pt x="744" y="1357"/>
                  </a:cubicBezTo>
                  <a:cubicBezTo>
                    <a:pt x="744" y="1350"/>
                    <a:pt x="744" y="1344"/>
                    <a:pt x="747" y="1340"/>
                  </a:cubicBezTo>
                  <a:cubicBezTo>
                    <a:pt x="751" y="1334"/>
                    <a:pt x="762" y="1334"/>
                    <a:pt x="772" y="1334"/>
                  </a:cubicBezTo>
                  <a:cubicBezTo>
                    <a:pt x="902" y="1334"/>
                    <a:pt x="902" y="1334"/>
                    <a:pt x="902" y="1334"/>
                  </a:cubicBezTo>
                  <a:cubicBezTo>
                    <a:pt x="912" y="1335"/>
                    <a:pt x="929" y="1335"/>
                    <a:pt x="940" y="1323"/>
                  </a:cubicBezTo>
                  <a:cubicBezTo>
                    <a:pt x="950" y="1312"/>
                    <a:pt x="950" y="1297"/>
                    <a:pt x="950" y="1288"/>
                  </a:cubicBezTo>
                  <a:cubicBezTo>
                    <a:pt x="949" y="1137"/>
                    <a:pt x="949" y="1137"/>
                    <a:pt x="949" y="1137"/>
                  </a:cubicBezTo>
                  <a:cubicBezTo>
                    <a:pt x="949" y="1128"/>
                    <a:pt x="949" y="1119"/>
                    <a:pt x="954" y="1115"/>
                  </a:cubicBezTo>
                  <a:cubicBezTo>
                    <a:pt x="959" y="1110"/>
                    <a:pt x="969" y="1111"/>
                    <a:pt x="979" y="1111"/>
                  </a:cubicBezTo>
                  <a:cubicBezTo>
                    <a:pt x="994" y="1112"/>
                    <a:pt x="1012" y="1113"/>
                    <a:pt x="1024" y="1099"/>
                  </a:cubicBezTo>
                  <a:cubicBezTo>
                    <a:pt x="1035" y="1085"/>
                    <a:pt x="1033" y="1066"/>
                    <a:pt x="1018" y="1042"/>
                  </a:cubicBezTo>
                  <a:cubicBezTo>
                    <a:pt x="953" y="938"/>
                    <a:pt x="953" y="938"/>
                    <a:pt x="953" y="938"/>
                  </a:cubicBezTo>
                  <a:cubicBezTo>
                    <a:pt x="946" y="926"/>
                    <a:pt x="939" y="914"/>
                    <a:pt x="935" y="902"/>
                  </a:cubicBezTo>
                  <a:cubicBezTo>
                    <a:pt x="931" y="891"/>
                    <a:pt x="930" y="879"/>
                    <a:pt x="929" y="867"/>
                  </a:cubicBezTo>
                  <a:cubicBezTo>
                    <a:pt x="929" y="864"/>
                    <a:pt x="928" y="861"/>
                    <a:pt x="928" y="858"/>
                  </a:cubicBezTo>
                  <a:cubicBezTo>
                    <a:pt x="912" y="709"/>
                    <a:pt x="805" y="576"/>
                    <a:pt x="662" y="527"/>
                  </a:cubicBezTo>
                  <a:cubicBezTo>
                    <a:pt x="521" y="479"/>
                    <a:pt x="359" y="518"/>
                    <a:pt x="250" y="628"/>
                  </a:cubicBezTo>
                  <a:cubicBezTo>
                    <a:pt x="187" y="690"/>
                    <a:pt x="149" y="782"/>
                    <a:pt x="144" y="879"/>
                  </a:cubicBezTo>
                  <a:cubicBezTo>
                    <a:pt x="139" y="983"/>
                    <a:pt x="173" y="1083"/>
                    <a:pt x="239" y="1160"/>
                  </a:cubicBezTo>
                  <a:cubicBezTo>
                    <a:pt x="245" y="1167"/>
                    <a:pt x="250" y="1173"/>
                    <a:pt x="254" y="1178"/>
                  </a:cubicBezTo>
                  <a:cubicBezTo>
                    <a:pt x="266" y="1191"/>
                    <a:pt x="275" y="1201"/>
                    <a:pt x="282" y="1215"/>
                  </a:cubicBezTo>
                  <a:cubicBezTo>
                    <a:pt x="297" y="1241"/>
                    <a:pt x="299" y="1275"/>
                    <a:pt x="289" y="1313"/>
                  </a:cubicBezTo>
                  <a:cubicBezTo>
                    <a:pt x="259" y="1426"/>
                    <a:pt x="259" y="1426"/>
                    <a:pt x="259" y="1426"/>
                  </a:cubicBezTo>
                  <a:cubicBezTo>
                    <a:pt x="111" y="1233"/>
                    <a:pt x="23" y="992"/>
                    <a:pt x="23" y="731"/>
                  </a:cubicBezTo>
                  <a:cubicBezTo>
                    <a:pt x="23" y="453"/>
                    <a:pt x="122" y="198"/>
                    <a:pt x="287" y="0"/>
                  </a:cubicBezTo>
                  <a:cubicBezTo>
                    <a:pt x="257" y="0"/>
                    <a:pt x="257" y="0"/>
                    <a:pt x="257" y="0"/>
                  </a:cubicBezTo>
                  <a:cubicBezTo>
                    <a:pt x="96" y="200"/>
                    <a:pt x="0" y="454"/>
                    <a:pt x="0" y="731"/>
                  </a:cubicBezTo>
                  <a:cubicBezTo>
                    <a:pt x="0" y="1375"/>
                    <a:pt x="524" y="1899"/>
                    <a:pt x="1168" y="1899"/>
                  </a:cubicBezTo>
                  <a:cubicBezTo>
                    <a:pt x="1531" y="1899"/>
                    <a:pt x="1856" y="1732"/>
                    <a:pt x="2070" y="1471"/>
                  </a:cubicBezTo>
                  <a:lnTo>
                    <a:pt x="2070" y="1402"/>
                  </a:lnTo>
                  <a:close/>
                  <a:moveTo>
                    <a:pt x="277" y="1449"/>
                  </a:moveTo>
                  <a:cubicBezTo>
                    <a:pt x="311" y="1319"/>
                    <a:pt x="311" y="1319"/>
                    <a:pt x="311" y="1319"/>
                  </a:cubicBezTo>
                  <a:cubicBezTo>
                    <a:pt x="323" y="1275"/>
                    <a:pt x="320" y="1236"/>
                    <a:pt x="303" y="1204"/>
                  </a:cubicBezTo>
                  <a:cubicBezTo>
                    <a:pt x="294" y="1187"/>
                    <a:pt x="284" y="1176"/>
                    <a:pt x="272" y="1163"/>
                  </a:cubicBezTo>
                  <a:cubicBezTo>
                    <a:pt x="267" y="1157"/>
                    <a:pt x="262" y="1152"/>
                    <a:pt x="256" y="1145"/>
                  </a:cubicBezTo>
                  <a:cubicBezTo>
                    <a:pt x="121" y="987"/>
                    <a:pt x="152" y="758"/>
                    <a:pt x="266" y="644"/>
                  </a:cubicBezTo>
                  <a:cubicBezTo>
                    <a:pt x="369" y="541"/>
                    <a:pt x="521" y="504"/>
                    <a:pt x="655" y="549"/>
                  </a:cubicBezTo>
                  <a:cubicBezTo>
                    <a:pt x="787" y="594"/>
                    <a:pt x="890" y="722"/>
                    <a:pt x="905" y="861"/>
                  </a:cubicBezTo>
                  <a:cubicBezTo>
                    <a:pt x="905" y="864"/>
                    <a:pt x="906" y="867"/>
                    <a:pt x="906" y="869"/>
                  </a:cubicBezTo>
                  <a:cubicBezTo>
                    <a:pt x="907" y="882"/>
                    <a:pt x="909" y="896"/>
                    <a:pt x="913" y="909"/>
                  </a:cubicBezTo>
                  <a:cubicBezTo>
                    <a:pt x="918" y="924"/>
                    <a:pt x="926" y="937"/>
                    <a:pt x="934" y="950"/>
                  </a:cubicBezTo>
                  <a:cubicBezTo>
                    <a:pt x="998" y="1054"/>
                    <a:pt x="998" y="1054"/>
                    <a:pt x="998" y="1054"/>
                  </a:cubicBezTo>
                  <a:cubicBezTo>
                    <a:pt x="1005" y="1064"/>
                    <a:pt x="1011" y="1078"/>
                    <a:pt x="1006" y="1084"/>
                  </a:cubicBezTo>
                  <a:cubicBezTo>
                    <a:pt x="1002" y="1089"/>
                    <a:pt x="994" y="1089"/>
                    <a:pt x="981" y="1088"/>
                  </a:cubicBezTo>
                  <a:cubicBezTo>
                    <a:pt x="967" y="1088"/>
                    <a:pt x="950" y="1087"/>
                    <a:pt x="938" y="1098"/>
                  </a:cubicBezTo>
                  <a:cubicBezTo>
                    <a:pt x="926" y="1110"/>
                    <a:pt x="926" y="1127"/>
                    <a:pt x="926" y="1138"/>
                  </a:cubicBezTo>
                  <a:cubicBezTo>
                    <a:pt x="926" y="1288"/>
                    <a:pt x="926" y="1288"/>
                    <a:pt x="926" y="1288"/>
                  </a:cubicBezTo>
                  <a:cubicBezTo>
                    <a:pt x="927" y="1296"/>
                    <a:pt x="926" y="1303"/>
                    <a:pt x="923" y="1307"/>
                  </a:cubicBezTo>
                  <a:cubicBezTo>
                    <a:pt x="919" y="1311"/>
                    <a:pt x="911" y="1311"/>
                    <a:pt x="903" y="1311"/>
                  </a:cubicBezTo>
                  <a:cubicBezTo>
                    <a:pt x="772" y="1310"/>
                    <a:pt x="772" y="1310"/>
                    <a:pt x="772" y="1310"/>
                  </a:cubicBezTo>
                  <a:cubicBezTo>
                    <a:pt x="762" y="1310"/>
                    <a:pt x="739" y="1310"/>
                    <a:pt x="728" y="1327"/>
                  </a:cubicBezTo>
                  <a:cubicBezTo>
                    <a:pt x="721" y="1337"/>
                    <a:pt x="721" y="1348"/>
                    <a:pt x="721" y="1357"/>
                  </a:cubicBezTo>
                  <a:cubicBezTo>
                    <a:pt x="721" y="1454"/>
                    <a:pt x="721" y="1454"/>
                    <a:pt x="721" y="1454"/>
                  </a:cubicBezTo>
                  <a:cubicBezTo>
                    <a:pt x="726" y="1458"/>
                    <a:pt x="726" y="1458"/>
                    <a:pt x="726" y="1458"/>
                  </a:cubicBezTo>
                  <a:cubicBezTo>
                    <a:pt x="729" y="1461"/>
                    <a:pt x="1031" y="1716"/>
                    <a:pt x="1056" y="1870"/>
                  </a:cubicBezTo>
                  <a:cubicBezTo>
                    <a:pt x="742" y="1840"/>
                    <a:pt x="465" y="1682"/>
                    <a:pt x="277" y="14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2" name="Freeform 51"/>
            <p:cNvSpPr>
              <a:spLocks/>
            </p:cNvSpPr>
            <p:nvPr userDrawn="1"/>
          </p:nvSpPr>
          <p:spPr bwMode="auto">
            <a:xfrm>
              <a:off x="30594300" y="60325"/>
              <a:ext cx="69850" cy="85725"/>
            </a:xfrm>
            <a:custGeom>
              <a:avLst/>
              <a:gdLst>
                <a:gd name="T0" fmla="*/ 22 w 22"/>
                <a:gd name="T1" fmla="*/ 0 h 27"/>
                <a:gd name="T2" fmla="*/ 0 w 22"/>
                <a:gd name="T3" fmla="*/ 0 h 27"/>
                <a:gd name="T4" fmla="*/ 22 w 22"/>
                <a:gd name="T5" fmla="*/ 27 h 27"/>
                <a:gd name="T6" fmla="*/ 22 w 22"/>
                <a:gd name="T7" fmla="*/ 0 h 27"/>
              </a:gdLst>
              <a:ahLst/>
              <a:cxnLst>
                <a:cxn ang="0">
                  <a:pos x="T0" y="T1"/>
                </a:cxn>
                <a:cxn ang="0">
                  <a:pos x="T2" y="T3"/>
                </a:cxn>
                <a:cxn ang="0">
                  <a:pos x="T4" y="T5"/>
                </a:cxn>
                <a:cxn ang="0">
                  <a:pos x="T6" y="T7"/>
                </a:cxn>
              </a:cxnLst>
              <a:rect l="0" t="0" r="r" b="b"/>
              <a:pathLst>
                <a:path w="22" h="27">
                  <a:moveTo>
                    <a:pt x="22" y="0"/>
                  </a:moveTo>
                  <a:cubicBezTo>
                    <a:pt x="0" y="0"/>
                    <a:pt x="0" y="0"/>
                    <a:pt x="0" y="0"/>
                  </a:cubicBezTo>
                  <a:cubicBezTo>
                    <a:pt x="8" y="9"/>
                    <a:pt x="15" y="18"/>
                    <a:pt x="22" y="27"/>
                  </a:cubicBez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64" name="Rechteck 13"/>
          <p:cNvSpPr/>
          <p:nvPr userDrawn="1"/>
        </p:nvSpPr>
        <p:spPr bwMode="gray">
          <a:xfrm rot="540000">
            <a:off x="5561892" y="-236851"/>
            <a:ext cx="2451100" cy="7331702"/>
          </a:xfrm>
          <a:custGeom>
            <a:avLst/>
            <a:gdLst/>
            <a:ahLst/>
            <a:cxnLst/>
            <a:rect l="l" t="t" r="r" b="b"/>
            <a:pathLst>
              <a:path w="2451100" h="7331702">
                <a:moveTo>
                  <a:pt x="0" y="388216"/>
                </a:moveTo>
                <a:lnTo>
                  <a:pt x="2451100" y="0"/>
                </a:lnTo>
                <a:lnTo>
                  <a:pt x="2451100" y="6943486"/>
                </a:lnTo>
                <a:lnTo>
                  <a:pt x="0" y="733170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26" name="Subtitle 2"/>
          <p:cNvSpPr>
            <a:spLocks noGrp="1"/>
          </p:cNvSpPr>
          <p:nvPr>
            <p:ph type="subTitle" idx="1" hasCustomPrompt="1"/>
          </p:nvPr>
        </p:nvSpPr>
        <p:spPr bwMode="black">
          <a:xfrm>
            <a:off x="1023467" y="1736974"/>
            <a:ext cx="5180484" cy="720000"/>
          </a:xfrm>
        </p:spPr>
        <p:txBody>
          <a:bodyPr anchor="t"/>
          <a:lstStyle>
            <a:lvl1pPr marL="0" indent="0" algn="l">
              <a:buNone/>
              <a:defRPr sz="3200" b="0">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dirty="0"/>
              <a:t>Insert </a:t>
            </a:r>
            <a:r>
              <a:rPr lang="de-DE" dirty="0" err="1"/>
              <a:t>text</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 name="Title 1"/>
          <p:cNvSpPr>
            <a:spLocks noGrp="1"/>
          </p:cNvSpPr>
          <p:nvPr>
            <p:ph type="title" hasCustomPrompt="1"/>
          </p:nvPr>
        </p:nvSpPr>
        <p:spPr bwMode="black">
          <a:xfrm>
            <a:off x="1518640" y="2468898"/>
            <a:ext cx="4140000" cy="1440753"/>
          </a:xfrm>
        </p:spPr>
        <p:txBody>
          <a:bodyPr anchor="t"/>
          <a:lstStyle>
            <a:lvl1pPr algn="l">
              <a:defRPr sz="7200" i="1">
                <a:solidFill>
                  <a:schemeClr val="bg1"/>
                </a:solidFill>
              </a:defRPr>
            </a:lvl1pPr>
          </a:lstStyle>
          <a:p>
            <a:r>
              <a:rPr lang="de-DE" dirty="0"/>
              <a:t>Insert </a:t>
            </a:r>
            <a:r>
              <a:rPr lang="de-DE" dirty="0" err="1"/>
              <a:t>text</a:t>
            </a:r>
            <a:endParaRPr lang="en-US" dirty="0"/>
          </a:p>
        </p:txBody>
      </p:sp>
      <p:sp>
        <p:nvSpPr>
          <p:cNvPr id="10" name="Datumsplatzhalter 9"/>
          <p:cNvSpPr>
            <a:spLocks noGrp="1"/>
          </p:cNvSpPr>
          <p:nvPr>
            <p:ph type="dt" sz="half" idx="10"/>
          </p:nvPr>
        </p:nvSpPr>
        <p:spPr/>
        <p:txBody>
          <a:bodyPr/>
          <a:lstStyle/>
          <a:p>
            <a:endParaRPr lang="en-US" dirty="0"/>
          </a:p>
        </p:txBody>
      </p:sp>
      <p:sp>
        <p:nvSpPr>
          <p:cNvPr id="11" name="Fußzeilenplatzhalter 10"/>
          <p:cNvSpPr>
            <a:spLocks noGrp="1"/>
          </p:cNvSpPr>
          <p:nvPr>
            <p:ph type="ftr" sz="quarter" idx="11"/>
          </p:nvPr>
        </p:nvSpPr>
        <p:spPr/>
        <p:txBody>
          <a:bodyPr/>
          <a:lstStyle>
            <a:lvl1pPr>
              <a:defRPr>
                <a:solidFill>
                  <a:schemeClr val="bg1"/>
                </a:solidFill>
              </a:defRPr>
            </a:lvl1pPr>
          </a:lstStyle>
          <a:p>
            <a:r>
              <a:rPr lang="en-US">
                <a:solidFill>
                  <a:srgbClr val="FFFFFF"/>
                </a:solidFill>
              </a:rPr>
              <a:t>/// Advancing Innovation at Bayer /// May 2019</a:t>
            </a:r>
            <a:endParaRPr lang="en-US" dirty="0">
              <a:solidFill>
                <a:srgbClr val="FFFFFF"/>
              </a:solidFill>
            </a:endParaRPr>
          </a:p>
        </p:txBody>
      </p:sp>
      <p:sp>
        <p:nvSpPr>
          <p:cNvPr id="12" name="Foliennummernplatzhalter 11"/>
          <p:cNvSpPr>
            <a:spLocks noGrp="1"/>
          </p:cNvSpPr>
          <p:nvPr>
            <p:ph type="sldNum" sz="quarter" idx="12"/>
          </p:nvPr>
        </p:nvSpPr>
        <p:spPr/>
        <p:txBody>
          <a:bodyPr/>
          <a:lstStyle>
            <a:lvl1pPr>
              <a:defRPr>
                <a:solidFill>
                  <a:schemeClr val="bg1"/>
                </a:solidFill>
              </a:defRPr>
            </a:lvl1pPr>
          </a:lstStyle>
          <a:p>
            <a:fld id="{EEAD9179-7A6B-4268-BEB2-F3B8EB06115B}" type="slidenum">
              <a:rPr lang="en-US" smtClean="0">
                <a:solidFill>
                  <a:srgbClr val="FFFFFF"/>
                </a:solidFill>
              </a:rPr>
              <a:pPr/>
              <a:t>‹#›</a:t>
            </a:fld>
            <a:endParaRPr lang="en-US" dirty="0">
              <a:solidFill>
                <a:srgbClr val="FFFFFF"/>
              </a:solidFill>
            </a:endParaRPr>
          </a:p>
        </p:txBody>
      </p:sp>
      <p:sp>
        <p:nvSpPr>
          <p:cNvPr id="62" name="Rechteck 5"/>
          <p:cNvSpPr/>
          <p:nvPr userDrawn="1"/>
        </p:nvSpPr>
        <p:spPr bwMode="gray">
          <a:xfrm rot="2760000">
            <a:off x="10257617" y="2334551"/>
            <a:ext cx="41621" cy="5356151"/>
          </a:xfrm>
          <a:custGeom>
            <a:avLst/>
            <a:gdLst/>
            <a:ahLst/>
            <a:cxnLst/>
            <a:rect l="l" t="t" r="r" b="b"/>
            <a:pathLst>
              <a:path w="41621" h="5356151">
                <a:moveTo>
                  <a:pt x="0" y="0"/>
                </a:moveTo>
                <a:lnTo>
                  <a:pt x="41621" y="40193"/>
                </a:lnTo>
                <a:lnTo>
                  <a:pt x="41621" y="5313051"/>
                </a:lnTo>
                <a:lnTo>
                  <a:pt x="0" y="535615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63" name="Rechteck 9"/>
          <p:cNvSpPr/>
          <p:nvPr userDrawn="1"/>
        </p:nvSpPr>
        <p:spPr bwMode="gray">
          <a:xfrm rot="540000">
            <a:off x="8003954" y="-46531"/>
            <a:ext cx="47836" cy="6951062"/>
          </a:xfrm>
          <a:custGeom>
            <a:avLst/>
            <a:gdLst/>
            <a:ahLst/>
            <a:cxnLst/>
            <a:rect l="l" t="t" r="r" b="b"/>
            <a:pathLst>
              <a:path w="47836" h="6951062">
                <a:moveTo>
                  <a:pt x="47836" y="0"/>
                </a:moveTo>
                <a:lnTo>
                  <a:pt x="47836" y="6943486"/>
                </a:lnTo>
                <a:lnTo>
                  <a:pt x="0" y="6951062"/>
                </a:lnTo>
                <a:lnTo>
                  <a:pt x="1" y="757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13" name="Gruppieren 112"/>
          <p:cNvGrpSpPr/>
          <p:nvPr userDrawn="1"/>
        </p:nvGrpSpPr>
        <p:grpSpPr>
          <a:xfrm>
            <a:off x="-48229" y="1770319"/>
            <a:ext cx="916769" cy="412749"/>
            <a:chOff x="863771" y="2247417"/>
            <a:chExt cx="916769" cy="294170"/>
          </a:xfrm>
        </p:grpSpPr>
        <p:cxnSp>
          <p:nvCxnSpPr>
            <p:cNvPr id="114" name="Gerade Verbindung 113"/>
            <p:cNvCxnSpPr/>
            <p:nvPr/>
          </p:nvCxnSpPr>
          <p:spPr bwMode="gray">
            <a:xfrm rot="900000" flipV="1">
              <a:off x="86377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nvCxnSpPr>
          <p:spPr bwMode="gray">
            <a:xfrm rot="900000" flipV="1">
              <a:off x="94016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p:nvCxnSpPr>
          <p:spPr bwMode="gray">
            <a:xfrm rot="900000" flipV="1">
              <a:off x="1016565"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p:nvCxnSpPr>
          <p:spPr bwMode="gray">
            <a:xfrm rot="900000" flipV="1">
              <a:off x="1092962"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p:nvCxnSpPr>
          <p:spPr bwMode="gray">
            <a:xfrm rot="900000" flipV="1">
              <a:off x="1169359"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p:nvCxnSpPr>
          <p:spPr bwMode="gray">
            <a:xfrm rot="900000" flipV="1">
              <a:off x="1245756"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p:nvCxnSpPr>
          <p:spPr bwMode="gray">
            <a:xfrm rot="900000" flipV="1">
              <a:off x="1322153"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p:nvCxnSpPr>
          <p:spPr bwMode="gray">
            <a:xfrm rot="900000" flipV="1">
              <a:off x="139855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Gerade Verbindung 121"/>
            <p:cNvCxnSpPr/>
            <p:nvPr/>
          </p:nvCxnSpPr>
          <p:spPr bwMode="gray">
            <a:xfrm rot="900000" flipV="1">
              <a:off x="1474947"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Gerade Verbindung 122"/>
            <p:cNvCxnSpPr/>
            <p:nvPr/>
          </p:nvCxnSpPr>
          <p:spPr bwMode="gray">
            <a:xfrm rot="900000" flipV="1">
              <a:off x="1551344"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p:nvCxnSpPr>
          <p:spPr bwMode="gray">
            <a:xfrm rot="900000" flipV="1">
              <a:off x="162774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p:nvCxnSpPr>
          <p:spPr bwMode="gray">
            <a:xfrm rot="900000" flipV="1">
              <a:off x="170413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p:nvCxnSpPr>
          <p:spPr bwMode="gray">
            <a:xfrm rot="900000" flipV="1">
              <a:off x="178054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547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_3">
    <p:bg>
      <p:bgPr>
        <a:solidFill>
          <a:schemeClr val="accent6"/>
        </a:solidFill>
        <a:effectLst/>
      </p:bgPr>
    </p:bg>
    <p:spTree>
      <p:nvGrpSpPr>
        <p:cNvPr id="1" name=""/>
        <p:cNvGrpSpPr/>
        <p:nvPr/>
      </p:nvGrpSpPr>
      <p:grpSpPr>
        <a:xfrm>
          <a:off x="0" y="0"/>
          <a:ext cx="0" cy="0"/>
          <a:chOff x="0" y="0"/>
          <a:chExt cx="0" cy="0"/>
        </a:xfrm>
      </p:grpSpPr>
      <p:grpSp>
        <p:nvGrpSpPr>
          <p:cNvPr id="117" name="Gruppieren 116"/>
          <p:cNvGrpSpPr/>
          <p:nvPr userDrawn="1"/>
        </p:nvGrpSpPr>
        <p:grpSpPr>
          <a:xfrm>
            <a:off x="6850942" y="1108887"/>
            <a:ext cx="5342842" cy="5749112"/>
            <a:chOff x="24110950" y="7916862"/>
            <a:chExt cx="6638926" cy="7143750"/>
          </a:xfrm>
          <a:solidFill>
            <a:schemeClr val="bg1"/>
          </a:solidFill>
        </p:grpSpPr>
        <p:sp>
          <p:nvSpPr>
            <p:cNvPr id="118" name="Freeform 52"/>
            <p:cNvSpPr>
              <a:spLocks/>
            </p:cNvSpPr>
            <p:nvPr userDrawn="1"/>
          </p:nvSpPr>
          <p:spPr bwMode="auto">
            <a:xfrm>
              <a:off x="27808238" y="9299575"/>
              <a:ext cx="573088" cy="573088"/>
            </a:xfrm>
            <a:custGeom>
              <a:avLst/>
              <a:gdLst>
                <a:gd name="T0" fmla="*/ 158 w 181"/>
                <a:gd name="T1" fmla="*/ 181 h 181"/>
                <a:gd name="T2" fmla="*/ 181 w 181"/>
                <a:gd name="T3" fmla="*/ 181 h 181"/>
                <a:gd name="T4" fmla="*/ 0 w 181"/>
                <a:gd name="T5" fmla="*/ 0 h 181"/>
                <a:gd name="T6" fmla="*/ 0 w 181"/>
                <a:gd name="T7" fmla="*/ 23 h 181"/>
                <a:gd name="T8" fmla="*/ 158 w 181"/>
                <a:gd name="T9" fmla="*/ 181 h 181"/>
              </a:gdLst>
              <a:ahLst/>
              <a:cxnLst>
                <a:cxn ang="0">
                  <a:pos x="T0" y="T1"/>
                </a:cxn>
                <a:cxn ang="0">
                  <a:pos x="T2" y="T3"/>
                </a:cxn>
                <a:cxn ang="0">
                  <a:pos x="T4" y="T5"/>
                </a:cxn>
                <a:cxn ang="0">
                  <a:pos x="T6" y="T7"/>
                </a:cxn>
                <a:cxn ang="0">
                  <a:pos x="T8" y="T9"/>
                </a:cxn>
              </a:cxnLst>
              <a:rect l="0" t="0" r="r" b="b"/>
              <a:pathLst>
                <a:path w="181" h="181">
                  <a:moveTo>
                    <a:pt x="158" y="181"/>
                  </a:moveTo>
                  <a:cubicBezTo>
                    <a:pt x="181" y="181"/>
                    <a:pt x="181" y="181"/>
                    <a:pt x="181" y="181"/>
                  </a:cubicBezTo>
                  <a:cubicBezTo>
                    <a:pt x="181" y="81"/>
                    <a:pt x="100" y="0"/>
                    <a:pt x="0" y="0"/>
                  </a:cubicBezTo>
                  <a:cubicBezTo>
                    <a:pt x="0" y="23"/>
                    <a:pt x="0" y="23"/>
                    <a:pt x="0" y="23"/>
                  </a:cubicBezTo>
                  <a:cubicBezTo>
                    <a:pt x="87" y="23"/>
                    <a:pt x="158" y="94"/>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19" name="Rectangle 53"/>
            <p:cNvSpPr>
              <a:spLocks noChangeArrowheads="1"/>
            </p:cNvSpPr>
            <p:nvPr userDrawn="1"/>
          </p:nvSpPr>
          <p:spPr bwMode="auto">
            <a:xfrm>
              <a:off x="27770138" y="8591550"/>
              <a:ext cx="73025" cy="388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0" name="Freeform 54"/>
            <p:cNvSpPr>
              <a:spLocks/>
            </p:cNvSpPr>
            <p:nvPr userDrawn="1"/>
          </p:nvSpPr>
          <p:spPr bwMode="auto">
            <a:xfrm>
              <a:off x="26874788" y="8939212"/>
              <a:ext cx="325438" cy="328613"/>
            </a:xfrm>
            <a:custGeom>
              <a:avLst/>
              <a:gdLst>
                <a:gd name="T0" fmla="*/ 205 w 205"/>
                <a:gd name="T1" fmla="*/ 176 h 207"/>
                <a:gd name="T2" fmla="*/ 32 w 205"/>
                <a:gd name="T3" fmla="*/ 0 h 207"/>
                <a:gd name="T4" fmla="*/ 0 w 205"/>
                <a:gd name="T5" fmla="*/ 34 h 207"/>
                <a:gd name="T6" fmla="*/ 173 w 205"/>
                <a:gd name="T7" fmla="*/ 207 h 207"/>
                <a:gd name="T8" fmla="*/ 205 w 205"/>
                <a:gd name="T9" fmla="*/ 176 h 207"/>
              </a:gdLst>
              <a:ahLst/>
              <a:cxnLst>
                <a:cxn ang="0">
                  <a:pos x="T0" y="T1"/>
                </a:cxn>
                <a:cxn ang="0">
                  <a:pos x="T2" y="T3"/>
                </a:cxn>
                <a:cxn ang="0">
                  <a:pos x="T4" y="T5"/>
                </a:cxn>
                <a:cxn ang="0">
                  <a:pos x="T6" y="T7"/>
                </a:cxn>
                <a:cxn ang="0">
                  <a:pos x="T8" y="T9"/>
                </a:cxn>
              </a:cxnLst>
              <a:rect l="0" t="0" r="r" b="b"/>
              <a:pathLst>
                <a:path w="205" h="207">
                  <a:moveTo>
                    <a:pt x="205" y="176"/>
                  </a:moveTo>
                  <a:lnTo>
                    <a:pt x="32" y="0"/>
                  </a:lnTo>
                  <a:lnTo>
                    <a:pt x="0" y="34"/>
                  </a:lnTo>
                  <a:lnTo>
                    <a:pt x="173" y="207"/>
                  </a:lnTo>
                  <a:lnTo>
                    <a:pt x="205"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1" name="Rectangle 55"/>
            <p:cNvSpPr>
              <a:spLocks noChangeArrowheads="1"/>
            </p:cNvSpPr>
            <p:nvPr userDrawn="1"/>
          </p:nvSpPr>
          <p:spPr bwMode="auto">
            <a:xfrm>
              <a:off x="26523950" y="9837737"/>
              <a:ext cx="392113"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2" name="Freeform 56"/>
            <p:cNvSpPr>
              <a:spLocks/>
            </p:cNvSpPr>
            <p:nvPr userDrawn="1"/>
          </p:nvSpPr>
          <p:spPr bwMode="auto">
            <a:xfrm>
              <a:off x="26874788" y="10477500"/>
              <a:ext cx="325438" cy="328613"/>
            </a:xfrm>
            <a:custGeom>
              <a:avLst/>
              <a:gdLst>
                <a:gd name="T0" fmla="*/ 0 w 205"/>
                <a:gd name="T1" fmla="*/ 176 h 207"/>
                <a:gd name="T2" fmla="*/ 32 w 205"/>
                <a:gd name="T3" fmla="*/ 207 h 207"/>
                <a:gd name="T4" fmla="*/ 205 w 205"/>
                <a:gd name="T5" fmla="*/ 34 h 207"/>
                <a:gd name="T6" fmla="*/ 173 w 205"/>
                <a:gd name="T7" fmla="*/ 0 h 207"/>
                <a:gd name="T8" fmla="*/ 0 w 205"/>
                <a:gd name="T9" fmla="*/ 176 h 207"/>
              </a:gdLst>
              <a:ahLst/>
              <a:cxnLst>
                <a:cxn ang="0">
                  <a:pos x="T0" y="T1"/>
                </a:cxn>
                <a:cxn ang="0">
                  <a:pos x="T2" y="T3"/>
                </a:cxn>
                <a:cxn ang="0">
                  <a:pos x="T4" y="T5"/>
                </a:cxn>
                <a:cxn ang="0">
                  <a:pos x="T6" y="T7"/>
                </a:cxn>
                <a:cxn ang="0">
                  <a:pos x="T8" y="T9"/>
                </a:cxn>
              </a:cxnLst>
              <a:rect l="0" t="0" r="r" b="b"/>
              <a:pathLst>
                <a:path w="205" h="207">
                  <a:moveTo>
                    <a:pt x="0" y="176"/>
                  </a:moveTo>
                  <a:lnTo>
                    <a:pt x="32" y="207"/>
                  </a:lnTo>
                  <a:lnTo>
                    <a:pt x="205" y="34"/>
                  </a:lnTo>
                  <a:lnTo>
                    <a:pt x="173" y="0"/>
                  </a:lnTo>
                  <a:lnTo>
                    <a:pt x="0"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3" name="Freeform 57"/>
            <p:cNvSpPr>
              <a:spLocks/>
            </p:cNvSpPr>
            <p:nvPr userDrawn="1"/>
          </p:nvSpPr>
          <p:spPr bwMode="auto">
            <a:xfrm>
              <a:off x="28413075" y="8939212"/>
              <a:ext cx="330200" cy="328613"/>
            </a:xfrm>
            <a:custGeom>
              <a:avLst/>
              <a:gdLst>
                <a:gd name="T0" fmla="*/ 208 w 208"/>
                <a:gd name="T1" fmla="*/ 34 h 207"/>
                <a:gd name="T2" fmla="*/ 174 w 208"/>
                <a:gd name="T3" fmla="*/ 0 h 207"/>
                <a:gd name="T4" fmla="*/ 0 w 208"/>
                <a:gd name="T5" fmla="*/ 176 h 207"/>
                <a:gd name="T6" fmla="*/ 32 w 208"/>
                <a:gd name="T7" fmla="*/ 207 h 207"/>
                <a:gd name="T8" fmla="*/ 208 w 208"/>
                <a:gd name="T9" fmla="*/ 34 h 207"/>
              </a:gdLst>
              <a:ahLst/>
              <a:cxnLst>
                <a:cxn ang="0">
                  <a:pos x="T0" y="T1"/>
                </a:cxn>
                <a:cxn ang="0">
                  <a:pos x="T2" y="T3"/>
                </a:cxn>
                <a:cxn ang="0">
                  <a:pos x="T4" y="T5"/>
                </a:cxn>
                <a:cxn ang="0">
                  <a:pos x="T6" y="T7"/>
                </a:cxn>
                <a:cxn ang="0">
                  <a:pos x="T8" y="T9"/>
                </a:cxn>
              </a:cxnLst>
              <a:rect l="0" t="0" r="r" b="b"/>
              <a:pathLst>
                <a:path w="208" h="207">
                  <a:moveTo>
                    <a:pt x="208" y="34"/>
                  </a:moveTo>
                  <a:lnTo>
                    <a:pt x="174" y="0"/>
                  </a:lnTo>
                  <a:lnTo>
                    <a:pt x="0" y="176"/>
                  </a:lnTo>
                  <a:lnTo>
                    <a:pt x="32" y="207"/>
                  </a:lnTo>
                  <a:lnTo>
                    <a:pt x="20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4" name="Rectangle 58"/>
            <p:cNvSpPr>
              <a:spLocks noChangeArrowheads="1"/>
            </p:cNvSpPr>
            <p:nvPr userDrawn="1"/>
          </p:nvSpPr>
          <p:spPr bwMode="auto">
            <a:xfrm>
              <a:off x="28702000" y="9837737"/>
              <a:ext cx="388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5" name="Freeform 59"/>
            <p:cNvSpPr>
              <a:spLocks/>
            </p:cNvSpPr>
            <p:nvPr userDrawn="1"/>
          </p:nvSpPr>
          <p:spPr bwMode="auto">
            <a:xfrm>
              <a:off x="28413075" y="10477500"/>
              <a:ext cx="330200" cy="328613"/>
            </a:xfrm>
            <a:custGeom>
              <a:avLst/>
              <a:gdLst>
                <a:gd name="T0" fmla="*/ 0 w 208"/>
                <a:gd name="T1" fmla="*/ 34 h 207"/>
                <a:gd name="T2" fmla="*/ 174 w 208"/>
                <a:gd name="T3" fmla="*/ 207 h 207"/>
                <a:gd name="T4" fmla="*/ 208 w 208"/>
                <a:gd name="T5" fmla="*/ 176 h 207"/>
                <a:gd name="T6" fmla="*/ 32 w 208"/>
                <a:gd name="T7" fmla="*/ 0 h 207"/>
                <a:gd name="T8" fmla="*/ 0 w 208"/>
                <a:gd name="T9" fmla="*/ 34 h 207"/>
              </a:gdLst>
              <a:ahLst/>
              <a:cxnLst>
                <a:cxn ang="0">
                  <a:pos x="T0" y="T1"/>
                </a:cxn>
                <a:cxn ang="0">
                  <a:pos x="T2" y="T3"/>
                </a:cxn>
                <a:cxn ang="0">
                  <a:pos x="T4" y="T5"/>
                </a:cxn>
                <a:cxn ang="0">
                  <a:pos x="T6" y="T7"/>
                </a:cxn>
                <a:cxn ang="0">
                  <a:pos x="T8" y="T9"/>
                </a:cxn>
              </a:cxnLst>
              <a:rect l="0" t="0" r="r" b="b"/>
              <a:pathLst>
                <a:path w="208" h="207">
                  <a:moveTo>
                    <a:pt x="0" y="34"/>
                  </a:moveTo>
                  <a:lnTo>
                    <a:pt x="174" y="207"/>
                  </a:lnTo>
                  <a:lnTo>
                    <a:pt x="208" y="176"/>
                  </a:lnTo>
                  <a:lnTo>
                    <a:pt x="32" y="0"/>
                  </a:lnTo>
                  <a:lnTo>
                    <a:pt x="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6" name="Freeform 60"/>
            <p:cNvSpPr>
              <a:spLocks noEditPoints="1"/>
            </p:cNvSpPr>
            <p:nvPr userDrawn="1"/>
          </p:nvSpPr>
          <p:spPr bwMode="auto">
            <a:xfrm>
              <a:off x="27014488" y="9082087"/>
              <a:ext cx="1585913" cy="1955800"/>
            </a:xfrm>
            <a:custGeom>
              <a:avLst/>
              <a:gdLst>
                <a:gd name="T0" fmla="*/ 383 w 501"/>
                <a:gd name="T1" fmla="*/ 588 h 618"/>
                <a:gd name="T2" fmla="*/ 440 w 501"/>
                <a:gd name="T3" fmla="*/ 415 h 618"/>
                <a:gd name="T4" fmla="*/ 501 w 501"/>
                <a:gd name="T5" fmla="*/ 250 h 618"/>
                <a:gd name="T6" fmla="*/ 251 w 501"/>
                <a:gd name="T7" fmla="*/ 0 h 618"/>
                <a:gd name="T8" fmla="*/ 0 w 501"/>
                <a:gd name="T9" fmla="*/ 250 h 618"/>
                <a:gd name="T10" fmla="*/ 62 w 501"/>
                <a:gd name="T11" fmla="*/ 415 h 618"/>
                <a:gd name="T12" fmla="*/ 119 w 501"/>
                <a:gd name="T13" fmla="*/ 588 h 618"/>
                <a:gd name="T14" fmla="*/ 149 w 501"/>
                <a:gd name="T15" fmla="*/ 618 h 618"/>
                <a:gd name="T16" fmla="*/ 353 w 501"/>
                <a:gd name="T17" fmla="*/ 618 h 618"/>
                <a:gd name="T18" fmla="*/ 383 w 501"/>
                <a:gd name="T19" fmla="*/ 588 h 618"/>
                <a:gd name="T20" fmla="*/ 142 w 501"/>
                <a:gd name="T21" fmla="*/ 588 h 618"/>
                <a:gd name="T22" fmla="*/ 79 w 501"/>
                <a:gd name="T23" fmla="*/ 400 h 618"/>
                <a:gd name="T24" fmla="*/ 23 w 501"/>
                <a:gd name="T25" fmla="*/ 250 h 618"/>
                <a:gd name="T26" fmla="*/ 251 w 501"/>
                <a:gd name="T27" fmla="*/ 23 h 618"/>
                <a:gd name="T28" fmla="*/ 478 w 501"/>
                <a:gd name="T29" fmla="*/ 250 h 618"/>
                <a:gd name="T30" fmla="*/ 422 w 501"/>
                <a:gd name="T31" fmla="*/ 399 h 618"/>
                <a:gd name="T32" fmla="*/ 360 w 501"/>
                <a:gd name="T33" fmla="*/ 588 h 618"/>
                <a:gd name="T34" fmla="*/ 353 w 501"/>
                <a:gd name="T35" fmla="*/ 594 h 618"/>
                <a:gd name="T36" fmla="*/ 149 w 501"/>
                <a:gd name="T37" fmla="*/ 594 h 618"/>
                <a:gd name="T38" fmla="*/ 142 w 501"/>
                <a:gd name="T39" fmla="*/ 58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1" h="618">
                  <a:moveTo>
                    <a:pt x="383" y="588"/>
                  </a:moveTo>
                  <a:cubicBezTo>
                    <a:pt x="383" y="479"/>
                    <a:pt x="439" y="416"/>
                    <a:pt x="440" y="415"/>
                  </a:cubicBezTo>
                  <a:cubicBezTo>
                    <a:pt x="479" y="369"/>
                    <a:pt x="501" y="311"/>
                    <a:pt x="501" y="250"/>
                  </a:cubicBezTo>
                  <a:cubicBezTo>
                    <a:pt x="501" y="112"/>
                    <a:pt x="389" y="0"/>
                    <a:pt x="251" y="0"/>
                  </a:cubicBezTo>
                  <a:cubicBezTo>
                    <a:pt x="113" y="0"/>
                    <a:pt x="0" y="112"/>
                    <a:pt x="0" y="250"/>
                  </a:cubicBezTo>
                  <a:cubicBezTo>
                    <a:pt x="0" y="311"/>
                    <a:pt x="22" y="369"/>
                    <a:pt x="62" y="415"/>
                  </a:cubicBezTo>
                  <a:cubicBezTo>
                    <a:pt x="63" y="416"/>
                    <a:pt x="119" y="479"/>
                    <a:pt x="119" y="588"/>
                  </a:cubicBezTo>
                  <a:cubicBezTo>
                    <a:pt x="119" y="605"/>
                    <a:pt x="131" y="618"/>
                    <a:pt x="149" y="618"/>
                  </a:cubicBezTo>
                  <a:cubicBezTo>
                    <a:pt x="353" y="618"/>
                    <a:pt x="353" y="618"/>
                    <a:pt x="353" y="618"/>
                  </a:cubicBezTo>
                  <a:cubicBezTo>
                    <a:pt x="370" y="618"/>
                    <a:pt x="383" y="605"/>
                    <a:pt x="383" y="588"/>
                  </a:cubicBezTo>
                  <a:close/>
                  <a:moveTo>
                    <a:pt x="142" y="588"/>
                  </a:moveTo>
                  <a:cubicBezTo>
                    <a:pt x="142" y="469"/>
                    <a:pt x="82" y="402"/>
                    <a:pt x="79" y="400"/>
                  </a:cubicBezTo>
                  <a:cubicBezTo>
                    <a:pt x="43" y="358"/>
                    <a:pt x="23" y="305"/>
                    <a:pt x="23" y="250"/>
                  </a:cubicBezTo>
                  <a:cubicBezTo>
                    <a:pt x="23" y="125"/>
                    <a:pt x="125" y="23"/>
                    <a:pt x="251" y="23"/>
                  </a:cubicBezTo>
                  <a:cubicBezTo>
                    <a:pt x="376" y="23"/>
                    <a:pt x="478" y="125"/>
                    <a:pt x="478" y="250"/>
                  </a:cubicBezTo>
                  <a:cubicBezTo>
                    <a:pt x="478" y="305"/>
                    <a:pt x="458" y="358"/>
                    <a:pt x="422" y="399"/>
                  </a:cubicBezTo>
                  <a:cubicBezTo>
                    <a:pt x="420" y="402"/>
                    <a:pt x="360" y="469"/>
                    <a:pt x="360" y="588"/>
                  </a:cubicBezTo>
                  <a:cubicBezTo>
                    <a:pt x="360" y="592"/>
                    <a:pt x="357" y="594"/>
                    <a:pt x="353" y="594"/>
                  </a:cubicBezTo>
                  <a:cubicBezTo>
                    <a:pt x="149" y="594"/>
                    <a:pt x="149" y="594"/>
                    <a:pt x="149" y="594"/>
                  </a:cubicBezTo>
                  <a:cubicBezTo>
                    <a:pt x="144" y="594"/>
                    <a:pt x="142" y="592"/>
                    <a:pt x="142" y="5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7" name="Rectangle 61"/>
            <p:cNvSpPr>
              <a:spLocks noChangeArrowheads="1"/>
            </p:cNvSpPr>
            <p:nvPr userDrawn="1"/>
          </p:nvSpPr>
          <p:spPr bwMode="auto">
            <a:xfrm>
              <a:off x="27485975" y="11155362"/>
              <a:ext cx="642938"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8" name="Freeform 62"/>
            <p:cNvSpPr>
              <a:spLocks/>
            </p:cNvSpPr>
            <p:nvPr userDrawn="1"/>
          </p:nvSpPr>
          <p:spPr bwMode="auto">
            <a:xfrm>
              <a:off x="28132088" y="10815637"/>
              <a:ext cx="2617788" cy="4244975"/>
            </a:xfrm>
            <a:custGeom>
              <a:avLst/>
              <a:gdLst>
                <a:gd name="T0" fmla="*/ 0 w 827"/>
                <a:gd name="T1" fmla="*/ 1341 h 1341"/>
                <a:gd name="T2" fmla="*/ 25 w 827"/>
                <a:gd name="T3" fmla="*/ 1341 h 1341"/>
                <a:gd name="T4" fmla="*/ 340 w 827"/>
                <a:gd name="T5" fmla="*/ 979 h 1341"/>
                <a:gd name="T6" fmla="*/ 344 w 827"/>
                <a:gd name="T7" fmla="*/ 976 h 1341"/>
                <a:gd name="T8" fmla="*/ 344 w 827"/>
                <a:gd name="T9" fmla="*/ 878 h 1341"/>
                <a:gd name="T10" fmla="*/ 338 w 827"/>
                <a:gd name="T11" fmla="*/ 848 h 1341"/>
                <a:gd name="T12" fmla="*/ 293 w 827"/>
                <a:gd name="T13" fmla="*/ 832 h 1341"/>
                <a:gd name="T14" fmla="*/ 163 w 827"/>
                <a:gd name="T15" fmla="*/ 833 h 1341"/>
                <a:gd name="T16" fmla="*/ 142 w 827"/>
                <a:gd name="T17" fmla="*/ 828 h 1341"/>
                <a:gd name="T18" fmla="*/ 139 w 827"/>
                <a:gd name="T19" fmla="*/ 810 h 1341"/>
                <a:gd name="T20" fmla="*/ 139 w 827"/>
                <a:gd name="T21" fmla="*/ 659 h 1341"/>
                <a:gd name="T22" fmla="*/ 128 w 827"/>
                <a:gd name="T23" fmla="*/ 620 h 1341"/>
                <a:gd name="T24" fmla="*/ 85 w 827"/>
                <a:gd name="T25" fmla="*/ 610 h 1341"/>
                <a:gd name="T26" fmla="*/ 60 w 827"/>
                <a:gd name="T27" fmla="*/ 606 h 1341"/>
                <a:gd name="T28" fmla="*/ 67 w 827"/>
                <a:gd name="T29" fmla="*/ 576 h 1341"/>
                <a:gd name="T30" fmla="*/ 132 w 827"/>
                <a:gd name="T31" fmla="*/ 471 h 1341"/>
                <a:gd name="T32" fmla="*/ 153 w 827"/>
                <a:gd name="T33" fmla="*/ 430 h 1341"/>
                <a:gd name="T34" fmla="*/ 159 w 827"/>
                <a:gd name="T35" fmla="*/ 391 h 1341"/>
                <a:gd name="T36" fmla="*/ 160 w 827"/>
                <a:gd name="T37" fmla="*/ 382 h 1341"/>
                <a:gd name="T38" fmla="*/ 411 w 827"/>
                <a:gd name="T39" fmla="*/ 70 h 1341"/>
                <a:gd name="T40" fmla="*/ 799 w 827"/>
                <a:gd name="T41" fmla="*/ 165 h 1341"/>
                <a:gd name="T42" fmla="*/ 827 w 827"/>
                <a:gd name="T43" fmla="*/ 198 h 1341"/>
                <a:gd name="T44" fmla="*/ 827 w 827"/>
                <a:gd name="T45" fmla="*/ 161 h 1341"/>
                <a:gd name="T46" fmla="*/ 816 w 827"/>
                <a:gd name="T47" fmla="*/ 149 h 1341"/>
                <a:gd name="T48" fmla="*/ 403 w 827"/>
                <a:gd name="T49" fmla="*/ 48 h 1341"/>
                <a:gd name="T50" fmla="*/ 137 w 827"/>
                <a:gd name="T51" fmla="*/ 380 h 1341"/>
                <a:gd name="T52" fmla="*/ 136 w 827"/>
                <a:gd name="T53" fmla="*/ 388 h 1341"/>
                <a:gd name="T54" fmla="*/ 131 w 827"/>
                <a:gd name="T55" fmla="*/ 423 h 1341"/>
                <a:gd name="T56" fmla="*/ 112 w 827"/>
                <a:gd name="T57" fmla="*/ 459 h 1341"/>
                <a:gd name="T58" fmla="*/ 47 w 827"/>
                <a:gd name="T59" fmla="*/ 563 h 1341"/>
                <a:gd name="T60" fmla="*/ 42 w 827"/>
                <a:gd name="T61" fmla="*/ 620 h 1341"/>
                <a:gd name="T62" fmla="*/ 86 w 827"/>
                <a:gd name="T63" fmla="*/ 633 h 1341"/>
                <a:gd name="T64" fmla="*/ 111 w 827"/>
                <a:gd name="T65" fmla="*/ 636 h 1341"/>
                <a:gd name="T66" fmla="*/ 116 w 827"/>
                <a:gd name="T67" fmla="*/ 659 h 1341"/>
                <a:gd name="T68" fmla="*/ 116 w 827"/>
                <a:gd name="T69" fmla="*/ 810 h 1341"/>
                <a:gd name="T70" fmla="*/ 125 w 827"/>
                <a:gd name="T71" fmla="*/ 844 h 1341"/>
                <a:gd name="T72" fmla="*/ 163 w 827"/>
                <a:gd name="T73" fmla="*/ 856 h 1341"/>
                <a:gd name="T74" fmla="*/ 293 w 827"/>
                <a:gd name="T75" fmla="*/ 855 h 1341"/>
                <a:gd name="T76" fmla="*/ 319 w 827"/>
                <a:gd name="T77" fmla="*/ 861 h 1341"/>
                <a:gd name="T78" fmla="*/ 321 w 827"/>
                <a:gd name="T79" fmla="*/ 878 h 1341"/>
                <a:gd name="T80" fmla="*/ 321 w 827"/>
                <a:gd name="T81" fmla="*/ 965 h 1341"/>
                <a:gd name="T82" fmla="*/ 0 w 827"/>
                <a:gd name="T83" fmla="*/ 1341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7" h="1341">
                  <a:moveTo>
                    <a:pt x="0" y="1341"/>
                  </a:moveTo>
                  <a:cubicBezTo>
                    <a:pt x="25" y="1341"/>
                    <a:pt x="25" y="1341"/>
                    <a:pt x="25" y="1341"/>
                  </a:cubicBezTo>
                  <a:cubicBezTo>
                    <a:pt x="94" y="1187"/>
                    <a:pt x="337" y="982"/>
                    <a:pt x="340" y="979"/>
                  </a:cubicBezTo>
                  <a:cubicBezTo>
                    <a:pt x="344" y="976"/>
                    <a:pt x="344" y="976"/>
                    <a:pt x="344" y="976"/>
                  </a:cubicBezTo>
                  <a:cubicBezTo>
                    <a:pt x="344" y="878"/>
                    <a:pt x="344" y="878"/>
                    <a:pt x="344" y="878"/>
                  </a:cubicBezTo>
                  <a:cubicBezTo>
                    <a:pt x="344" y="870"/>
                    <a:pt x="344" y="858"/>
                    <a:pt x="338" y="848"/>
                  </a:cubicBezTo>
                  <a:cubicBezTo>
                    <a:pt x="326" y="831"/>
                    <a:pt x="304" y="832"/>
                    <a:pt x="293" y="832"/>
                  </a:cubicBezTo>
                  <a:cubicBezTo>
                    <a:pt x="163" y="833"/>
                    <a:pt x="163" y="833"/>
                    <a:pt x="163" y="833"/>
                  </a:cubicBezTo>
                  <a:cubicBezTo>
                    <a:pt x="155" y="833"/>
                    <a:pt x="146" y="832"/>
                    <a:pt x="142" y="828"/>
                  </a:cubicBezTo>
                  <a:cubicBezTo>
                    <a:pt x="139" y="825"/>
                    <a:pt x="139" y="817"/>
                    <a:pt x="139" y="810"/>
                  </a:cubicBezTo>
                  <a:cubicBezTo>
                    <a:pt x="139" y="659"/>
                    <a:pt x="139" y="659"/>
                    <a:pt x="139" y="659"/>
                  </a:cubicBezTo>
                  <a:cubicBezTo>
                    <a:pt x="139" y="648"/>
                    <a:pt x="139" y="631"/>
                    <a:pt x="128" y="620"/>
                  </a:cubicBezTo>
                  <a:cubicBezTo>
                    <a:pt x="115" y="608"/>
                    <a:pt x="98" y="609"/>
                    <a:pt x="85" y="610"/>
                  </a:cubicBezTo>
                  <a:cubicBezTo>
                    <a:pt x="72" y="610"/>
                    <a:pt x="63" y="610"/>
                    <a:pt x="60" y="606"/>
                  </a:cubicBezTo>
                  <a:cubicBezTo>
                    <a:pt x="54" y="599"/>
                    <a:pt x="61" y="586"/>
                    <a:pt x="67" y="576"/>
                  </a:cubicBezTo>
                  <a:cubicBezTo>
                    <a:pt x="132" y="471"/>
                    <a:pt x="132" y="471"/>
                    <a:pt x="132" y="471"/>
                  </a:cubicBezTo>
                  <a:cubicBezTo>
                    <a:pt x="140" y="458"/>
                    <a:pt x="148" y="445"/>
                    <a:pt x="153" y="430"/>
                  </a:cubicBezTo>
                  <a:cubicBezTo>
                    <a:pt x="157" y="417"/>
                    <a:pt x="158" y="404"/>
                    <a:pt x="159" y="391"/>
                  </a:cubicBezTo>
                  <a:cubicBezTo>
                    <a:pt x="160" y="388"/>
                    <a:pt x="160" y="385"/>
                    <a:pt x="160" y="382"/>
                  </a:cubicBezTo>
                  <a:cubicBezTo>
                    <a:pt x="175" y="243"/>
                    <a:pt x="278" y="115"/>
                    <a:pt x="411" y="70"/>
                  </a:cubicBezTo>
                  <a:cubicBezTo>
                    <a:pt x="544" y="25"/>
                    <a:pt x="697" y="62"/>
                    <a:pt x="799" y="165"/>
                  </a:cubicBezTo>
                  <a:cubicBezTo>
                    <a:pt x="809" y="175"/>
                    <a:pt x="819" y="186"/>
                    <a:pt x="827" y="198"/>
                  </a:cubicBezTo>
                  <a:cubicBezTo>
                    <a:pt x="827" y="161"/>
                    <a:pt x="827" y="161"/>
                    <a:pt x="827" y="161"/>
                  </a:cubicBezTo>
                  <a:cubicBezTo>
                    <a:pt x="824" y="157"/>
                    <a:pt x="820" y="153"/>
                    <a:pt x="816" y="149"/>
                  </a:cubicBezTo>
                  <a:cubicBezTo>
                    <a:pt x="707" y="40"/>
                    <a:pt x="545" y="0"/>
                    <a:pt x="403" y="48"/>
                  </a:cubicBezTo>
                  <a:cubicBezTo>
                    <a:pt x="260" y="97"/>
                    <a:pt x="154" y="230"/>
                    <a:pt x="137" y="380"/>
                  </a:cubicBezTo>
                  <a:cubicBezTo>
                    <a:pt x="137" y="383"/>
                    <a:pt x="137" y="385"/>
                    <a:pt x="136" y="388"/>
                  </a:cubicBezTo>
                  <a:cubicBezTo>
                    <a:pt x="135" y="401"/>
                    <a:pt x="134" y="412"/>
                    <a:pt x="131" y="423"/>
                  </a:cubicBezTo>
                  <a:cubicBezTo>
                    <a:pt x="127" y="435"/>
                    <a:pt x="119" y="447"/>
                    <a:pt x="112" y="459"/>
                  </a:cubicBezTo>
                  <a:cubicBezTo>
                    <a:pt x="47" y="563"/>
                    <a:pt x="47" y="563"/>
                    <a:pt x="47" y="563"/>
                  </a:cubicBezTo>
                  <a:cubicBezTo>
                    <a:pt x="33" y="587"/>
                    <a:pt x="31" y="606"/>
                    <a:pt x="42" y="620"/>
                  </a:cubicBezTo>
                  <a:cubicBezTo>
                    <a:pt x="53" y="635"/>
                    <a:pt x="71" y="634"/>
                    <a:pt x="86" y="633"/>
                  </a:cubicBezTo>
                  <a:cubicBezTo>
                    <a:pt x="97" y="632"/>
                    <a:pt x="107" y="631"/>
                    <a:pt x="111" y="636"/>
                  </a:cubicBezTo>
                  <a:cubicBezTo>
                    <a:pt x="116" y="641"/>
                    <a:pt x="116" y="650"/>
                    <a:pt x="116" y="659"/>
                  </a:cubicBezTo>
                  <a:cubicBezTo>
                    <a:pt x="116" y="810"/>
                    <a:pt x="116" y="810"/>
                    <a:pt x="116" y="810"/>
                  </a:cubicBezTo>
                  <a:cubicBezTo>
                    <a:pt x="116" y="819"/>
                    <a:pt x="116" y="833"/>
                    <a:pt x="125" y="844"/>
                  </a:cubicBezTo>
                  <a:cubicBezTo>
                    <a:pt x="136" y="856"/>
                    <a:pt x="154" y="856"/>
                    <a:pt x="163" y="856"/>
                  </a:cubicBezTo>
                  <a:cubicBezTo>
                    <a:pt x="293" y="855"/>
                    <a:pt x="293" y="855"/>
                    <a:pt x="293" y="855"/>
                  </a:cubicBezTo>
                  <a:cubicBezTo>
                    <a:pt x="303" y="855"/>
                    <a:pt x="315" y="855"/>
                    <a:pt x="319" y="861"/>
                  </a:cubicBezTo>
                  <a:cubicBezTo>
                    <a:pt x="321" y="865"/>
                    <a:pt x="321" y="871"/>
                    <a:pt x="321" y="878"/>
                  </a:cubicBezTo>
                  <a:cubicBezTo>
                    <a:pt x="321" y="965"/>
                    <a:pt x="321" y="965"/>
                    <a:pt x="321" y="965"/>
                  </a:cubicBezTo>
                  <a:cubicBezTo>
                    <a:pt x="286" y="995"/>
                    <a:pt x="63" y="1189"/>
                    <a:pt x="0" y="1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29" name="Freeform 63"/>
            <p:cNvSpPr>
              <a:spLocks/>
            </p:cNvSpPr>
            <p:nvPr userDrawn="1"/>
          </p:nvSpPr>
          <p:spPr bwMode="auto">
            <a:xfrm>
              <a:off x="24110950" y="7916862"/>
              <a:ext cx="6638925" cy="7143750"/>
            </a:xfrm>
            <a:custGeom>
              <a:avLst/>
              <a:gdLst>
                <a:gd name="T0" fmla="*/ 745 w 2097"/>
                <a:gd name="T1" fmla="*/ 2257 h 2257"/>
                <a:gd name="T2" fmla="*/ 814 w 2097"/>
                <a:gd name="T3" fmla="*/ 2257 h 2257"/>
                <a:gd name="T4" fmla="*/ 277 w 2097"/>
                <a:gd name="T5" fmla="*/ 1886 h 2257"/>
                <a:gd name="T6" fmla="*/ 311 w 2097"/>
                <a:gd name="T7" fmla="*/ 1757 h 2257"/>
                <a:gd name="T8" fmla="*/ 303 w 2097"/>
                <a:gd name="T9" fmla="*/ 1641 h 2257"/>
                <a:gd name="T10" fmla="*/ 272 w 2097"/>
                <a:gd name="T11" fmla="*/ 1600 h 2257"/>
                <a:gd name="T12" fmla="*/ 256 w 2097"/>
                <a:gd name="T13" fmla="*/ 1583 h 2257"/>
                <a:gd name="T14" fmla="*/ 266 w 2097"/>
                <a:gd name="T15" fmla="*/ 1081 h 2257"/>
                <a:gd name="T16" fmla="*/ 655 w 2097"/>
                <a:gd name="T17" fmla="*/ 986 h 2257"/>
                <a:gd name="T18" fmla="*/ 905 w 2097"/>
                <a:gd name="T19" fmla="*/ 1298 h 2257"/>
                <a:gd name="T20" fmla="*/ 906 w 2097"/>
                <a:gd name="T21" fmla="*/ 1307 h 2257"/>
                <a:gd name="T22" fmla="*/ 913 w 2097"/>
                <a:gd name="T23" fmla="*/ 1346 h 2257"/>
                <a:gd name="T24" fmla="*/ 934 w 2097"/>
                <a:gd name="T25" fmla="*/ 1387 h 2257"/>
                <a:gd name="T26" fmla="*/ 998 w 2097"/>
                <a:gd name="T27" fmla="*/ 1492 h 2257"/>
                <a:gd name="T28" fmla="*/ 1006 w 2097"/>
                <a:gd name="T29" fmla="*/ 1522 h 2257"/>
                <a:gd name="T30" fmla="*/ 981 w 2097"/>
                <a:gd name="T31" fmla="*/ 1526 h 2257"/>
                <a:gd name="T32" fmla="*/ 938 w 2097"/>
                <a:gd name="T33" fmla="*/ 1536 h 2257"/>
                <a:gd name="T34" fmla="*/ 926 w 2097"/>
                <a:gd name="T35" fmla="*/ 1575 h 2257"/>
                <a:gd name="T36" fmla="*/ 926 w 2097"/>
                <a:gd name="T37" fmla="*/ 1726 h 2257"/>
                <a:gd name="T38" fmla="*/ 923 w 2097"/>
                <a:gd name="T39" fmla="*/ 1744 h 2257"/>
                <a:gd name="T40" fmla="*/ 903 w 2097"/>
                <a:gd name="T41" fmla="*/ 1749 h 2257"/>
                <a:gd name="T42" fmla="*/ 772 w 2097"/>
                <a:gd name="T43" fmla="*/ 1748 h 2257"/>
                <a:gd name="T44" fmla="*/ 728 w 2097"/>
                <a:gd name="T45" fmla="*/ 1764 h 2257"/>
                <a:gd name="T46" fmla="*/ 721 w 2097"/>
                <a:gd name="T47" fmla="*/ 1794 h 2257"/>
                <a:gd name="T48" fmla="*/ 721 w 2097"/>
                <a:gd name="T49" fmla="*/ 1892 h 2257"/>
                <a:gd name="T50" fmla="*/ 726 w 2097"/>
                <a:gd name="T51" fmla="*/ 1895 h 2257"/>
                <a:gd name="T52" fmla="*/ 1040 w 2097"/>
                <a:gd name="T53" fmla="*/ 2257 h 2257"/>
                <a:gd name="T54" fmla="*/ 1065 w 2097"/>
                <a:gd name="T55" fmla="*/ 2257 h 2257"/>
                <a:gd name="T56" fmla="*/ 744 w 2097"/>
                <a:gd name="T57" fmla="*/ 1881 h 2257"/>
                <a:gd name="T58" fmla="*/ 744 w 2097"/>
                <a:gd name="T59" fmla="*/ 1794 h 2257"/>
                <a:gd name="T60" fmla="*/ 747 w 2097"/>
                <a:gd name="T61" fmla="*/ 1777 h 2257"/>
                <a:gd name="T62" fmla="*/ 772 w 2097"/>
                <a:gd name="T63" fmla="*/ 1771 h 2257"/>
                <a:gd name="T64" fmla="*/ 902 w 2097"/>
                <a:gd name="T65" fmla="*/ 1772 h 2257"/>
                <a:gd name="T66" fmla="*/ 940 w 2097"/>
                <a:gd name="T67" fmla="*/ 1760 h 2257"/>
                <a:gd name="T68" fmla="*/ 950 w 2097"/>
                <a:gd name="T69" fmla="*/ 1726 h 2257"/>
                <a:gd name="T70" fmla="*/ 949 w 2097"/>
                <a:gd name="T71" fmla="*/ 1575 h 2257"/>
                <a:gd name="T72" fmla="*/ 954 w 2097"/>
                <a:gd name="T73" fmla="*/ 1552 h 2257"/>
                <a:gd name="T74" fmla="*/ 979 w 2097"/>
                <a:gd name="T75" fmla="*/ 1549 h 2257"/>
                <a:gd name="T76" fmla="*/ 1024 w 2097"/>
                <a:gd name="T77" fmla="*/ 1536 h 2257"/>
                <a:gd name="T78" fmla="*/ 1018 w 2097"/>
                <a:gd name="T79" fmla="*/ 1479 h 2257"/>
                <a:gd name="T80" fmla="*/ 953 w 2097"/>
                <a:gd name="T81" fmla="*/ 1375 h 2257"/>
                <a:gd name="T82" fmla="*/ 935 w 2097"/>
                <a:gd name="T83" fmla="*/ 1339 h 2257"/>
                <a:gd name="T84" fmla="*/ 929 w 2097"/>
                <a:gd name="T85" fmla="*/ 1304 h 2257"/>
                <a:gd name="T86" fmla="*/ 928 w 2097"/>
                <a:gd name="T87" fmla="*/ 1296 h 2257"/>
                <a:gd name="T88" fmla="*/ 662 w 2097"/>
                <a:gd name="T89" fmla="*/ 964 h 2257"/>
                <a:gd name="T90" fmla="*/ 250 w 2097"/>
                <a:gd name="T91" fmla="*/ 1065 h 2257"/>
                <a:gd name="T92" fmla="*/ 144 w 2097"/>
                <a:gd name="T93" fmla="*/ 1316 h 2257"/>
                <a:gd name="T94" fmla="*/ 239 w 2097"/>
                <a:gd name="T95" fmla="*/ 1598 h 2257"/>
                <a:gd name="T96" fmla="*/ 254 w 2097"/>
                <a:gd name="T97" fmla="*/ 1615 h 2257"/>
                <a:gd name="T98" fmla="*/ 282 w 2097"/>
                <a:gd name="T99" fmla="*/ 1652 h 2257"/>
                <a:gd name="T100" fmla="*/ 289 w 2097"/>
                <a:gd name="T101" fmla="*/ 1751 h 2257"/>
                <a:gd name="T102" fmla="*/ 259 w 2097"/>
                <a:gd name="T103" fmla="*/ 1863 h 2257"/>
                <a:gd name="T104" fmla="*/ 23 w 2097"/>
                <a:gd name="T105" fmla="*/ 1168 h 2257"/>
                <a:gd name="T106" fmla="*/ 1168 w 2097"/>
                <a:gd name="T107" fmla="*/ 23 h 2257"/>
                <a:gd name="T108" fmla="*/ 2097 w 2097"/>
                <a:gd name="T109" fmla="*/ 501 h 2257"/>
                <a:gd name="T110" fmla="*/ 2097 w 2097"/>
                <a:gd name="T111" fmla="*/ 462 h 2257"/>
                <a:gd name="T112" fmla="*/ 1168 w 2097"/>
                <a:gd name="T113" fmla="*/ 0 h 2257"/>
                <a:gd name="T114" fmla="*/ 0 w 2097"/>
                <a:gd name="T115" fmla="*/ 1168 h 2257"/>
                <a:gd name="T116" fmla="*/ 745 w 2097"/>
                <a:gd name="T117" fmla="*/ 2257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7" h="2257">
                  <a:moveTo>
                    <a:pt x="745" y="2257"/>
                  </a:moveTo>
                  <a:cubicBezTo>
                    <a:pt x="814" y="2257"/>
                    <a:pt x="814" y="2257"/>
                    <a:pt x="814" y="2257"/>
                  </a:cubicBezTo>
                  <a:cubicBezTo>
                    <a:pt x="600" y="2187"/>
                    <a:pt x="414" y="2057"/>
                    <a:pt x="277" y="1886"/>
                  </a:cubicBezTo>
                  <a:cubicBezTo>
                    <a:pt x="311" y="1757"/>
                    <a:pt x="311" y="1757"/>
                    <a:pt x="311" y="1757"/>
                  </a:cubicBezTo>
                  <a:cubicBezTo>
                    <a:pt x="323" y="1712"/>
                    <a:pt x="320" y="1673"/>
                    <a:pt x="303" y="1641"/>
                  </a:cubicBezTo>
                  <a:cubicBezTo>
                    <a:pt x="294" y="1625"/>
                    <a:pt x="284" y="1613"/>
                    <a:pt x="272" y="1600"/>
                  </a:cubicBezTo>
                  <a:cubicBezTo>
                    <a:pt x="267" y="1595"/>
                    <a:pt x="262" y="1589"/>
                    <a:pt x="256" y="1583"/>
                  </a:cubicBezTo>
                  <a:cubicBezTo>
                    <a:pt x="121" y="1424"/>
                    <a:pt x="152" y="1195"/>
                    <a:pt x="266" y="1081"/>
                  </a:cubicBezTo>
                  <a:cubicBezTo>
                    <a:pt x="369" y="978"/>
                    <a:pt x="521" y="941"/>
                    <a:pt x="655" y="986"/>
                  </a:cubicBezTo>
                  <a:cubicBezTo>
                    <a:pt x="787" y="1031"/>
                    <a:pt x="890" y="1159"/>
                    <a:pt x="905" y="1298"/>
                  </a:cubicBezTo>
                  <a:cubicBezTo>
                    <a:pt x="905" y="1301"/>
                    <a:pt x="906" y="1304"/>
                    <a:pt x="906" y="1307"/>
                  </a:cubicBezTo>
                  <a:cubicBezTo>
                    <a:pt x="907" y="1320"/>
                    <a:pt x="909" y="1333"/>
                    <a:pt x="913" y="1346"/>
                  </a:cubicBezTo>
                  <a:cubicBezTo>
                    <a:pt x="918" y="1361"/>
                    <a:pt x="926" y="1374"/>
                    <a:pt x="934" y="1387"/>
                  </a:cubicBezTo>
                  <a:cubicBezTo>
                    <a:pt x="998" y="1492"/>
                    <a:pt x="998" y="1492"/>
                    <a:pt x="998" y="1492"/>
                  </a:cubicBezTo>
                  <a:cubicBezTo>
                    <a:pt x="1005" y="1502"/>
                    <a:pt x="1011" y="1515"/>
                    <a:pt x="1006" y="1522"/>
                  </a:cubicBezTo>
                  <a:cubicBezTo>
                    <a:pt x="1002" y="1526"/>
                    <a:pt x="994" y="1526"/>
                    <a:pt x="981" y="1526"/>
                  </a:cubicBezTo>
                  <a:cubicBezTo>
                    <a:pt x="967" y="1525"/>
                    <a:pt x="950" y="1524"/>
                    <a:pt x="938" y="1536"/>
                  </a:cubicBezTo>
                  <a:cubicBezTo>
                    <a:pt x="926" y="1547"/>
                    <a:pt x="926" y="1564"/>
                    <a:pt x="926" y="1575"/>
                  </a:cubicBezTo>
                  <a:cubicBezTo>
                    <a:pt x="926" y="1726"/>
                    <a:pt x="926" y="1726"/>
                    <a:pt x="926" y="1726"/>
                  </a:cubicBezTo>
                  <a:cubicBezTo>
                    <a:pt x="927" y="1733"/>
                    <a:pt x="926" y="1741"/>
                    <a:pt x="923" y="1744"/>
                  </a:cubicBezTo>
                  <a:cubicBezTo>
                    <a:pt x="919" y="1748"/>
                    <a:pt x="911" y="1749"/>
                    <a:pt x="903" y="1749"/>
                  </a:cubicBezTo>
                  <a:cubicBezTo>
                    <a:pt x="772" y="1748"/>
                    <a:pt x="772" y="1748"/>
                    <a:pt x="772" y="1748"/>
                  </a:cubicBezTo>
                  <a:cubicBezTo>
                    <a:pt x="762" y="1748"/>
                    <a:pt x="739" y="1747"/>
                    <a:pt x="728" y="1764"/>
                  </a:cubicBezTo>
                  <a:cubicBezTo>
                    <a:pt x="721" y="1774"/>
                    <a:pt x="721" y="1786"/>
                    <a:pt x="721" y="1794"/>
                  </a:cubicBezTo>
                  <a:cubicBezTo>
                    <a:pt x="721" y="1892"/>
                    <a:pt x="721" y="1892"/>
                    <a:pt x="721" y="1892"/>
                  </a:cubicBezTo>
                  <a:cubicBezTo>
                    <a:pt x="726" y="1895"/>
                    <a:pt x="726" y="1895"/>
                    <a:pt x="726" y="1895"/>
                  </a:cubicBezTo>
                  <a:cubicBezTo>
                    <a:pt x="728" y="1898"/>
                    <a:pt x="971" y="2103"/>
                    <a:pt x="1040" y="2257"/>
                  </a:cubicBezTo>
                  <a:cubicBezTo>
                    <a:pt x="1065" y="2257"/>
                    <a:pt x="1065" y="2257"/>
                    <a:pt x="1065" y="2257"/>
                  </a:cubicBezTo>
                  <a:cubicBezTo>
                    <a:pt x="1002" y="2105"/>
                    <a:pt x="779" y="1911"/>
                    <a:pt x="744" y="1881"/>
                  </a:cubicBezTo>
                  <a:cubicBezTo>
                    <a:pt x="744" y="1794"/>
                    <a:pt x="744" y="1794"/>
                    <a:pt x="744" y="1794"/>
                  </a:cubicBezTo>
                  <a:cubicBezTo>
                    <a:pt x="744" y="1787"/>
                    <a:pt x="744" y="1781"/>
                    <a:pt x="747" y="1777"/>
                  </a:cubicBezTo>
                  <a:cubicBezTo>
                    <a:pt x="751" y="1771"/>
                    <a:pt x="762" y="1771"/>
                    <a:pt x="772" y="1771"/>
                  </a:cubicBezTo>
                  <a:cubicBezTo>
                    <a:pt x="902" y="1772"/>
                    <a:pt x="902" y="1772"/>
                    <a:pt x="902" y="1772"/>
                  </a:cubicBezTo>
                  <a:cubicBezTo>
                    <a:pt x="912" y="1772"/>
                    <a:pt x="929" y="1772"/>
                    <a:pt x="940" y="1760"/>
                  </a:cubicBezTo>
                  <a:cubicBezTo>
                    <a:pt x="950" y="1749"/>
                    <a:pt x="950" y="1735"/>
                    <a:pt x="950" y="1726"/>
                  </a:cubicBezTo>
                  <a:cubicBezTo>
                    <a:pt x="949" y="1575"/>
                    <a:pt x="949" y="1575"/>
                    <a:pt x="949" y="1575"/>
                  </a:cubicBezTo>
                  <a:cubicBezTo>
                    <a:pt x="949" y="1566"/>
                    <a:pt x="949" y="1557"/>
                    <a:pt x="954" y="1552"/>
                  </a:cubicBezTo>
                  <a:cubicBezTo>
                    <a:pt x="959" y="1547"/>
                    <a:pt x="969" y="1548"/>
                    <a:pt x="979" y="1549"/>
                  </a:cubicBezTo>
                  <a:cubicBezTo>
                    <a:pt x="994" y="1550"/>
                    <a:pt x="1012" y="1551"/>
                    <a:pt x="1024" y="1536"/>
                  </a:cubicBezTo>
                  <a:cubicBezTo>
                    <a:pt x="1035" y="1522"/>
                    <a:pt x="1033" y="1503"/>
                    <a:pt x="1018" y="1479"/>
                  </a:cubicBezTo>
                  <a:cubicBezTo>
                    <a:pt x="953" y="1375"/>
                    <a:pt x="953" y="1375"/>
                    <a:pt x="953" y="1375"/>
                  </a:cubicBezTo>
                  <a:cubicBezTo>
                    <a:pt x="946" y="1363"/>
                    <a:pt x="939" y="1351"/>
                    <a:pt x="935" y="1339"/>
                  </a:cubicBezTo>
                  <a:cubicBezTo>
                    <a:pt x="931" y="1328"/>
                    <a:pt x="930" y="1317"/>
                    <a:pt x="929" y="1304"/>
                  </a:cubicBezTo>
                  <a:cubicBezTo>
                    <a:pt x="929" y="1301"/>
                    <a:pt x="928" y="1299"/>
                    <a:pt x="928" y="1296"/>
                  </a:cubicBezTo>
                  <a:cubicBezTo>
                    <a:pt x="912" y="1146"/>
                    <a:pt x="805" y="1013"/>
                    <a:pt x="662" y="964"/>
                  </a:cubicBezTo>
                  <a:cubicBezTo>
                    <a:pt x="521" y="916"/>
                    <a:pt x="359" y="956"/>
                    <a:pt x="250" y="1065"/>
                  </a:cubicBezTo>
                  <a:cubicBezTo>
                    <a:pt x="187" y="1127"/>
                    <a:pt x="149" y="1219"/>
                    <a:pt x="144" y="1316"/>
                  </a:cubicBezTo>
                  <a:cubicBezTo>
                    <a:pt x="139" y="1420"/>
                    <a:pt x="173" y="1520"/>
                    <a:pt x="239" y="1598"/>
                  </a:cubicBezTo>
                  <a:cubicBezTo>
                    <a:pt x="245" y="1604"/>
                    <a:pt x="250" y="1610"/>
                    <a:pt x="254" y="1615"/>
                  </a:cubicBezTo>
                  <a:cubicBezTo>
                    <a:pt x="266" y="1628"/>
                    <a:pt x="275" y="1638"/>
                    <a:pt x="282" y="1652"/>
                  </a:cubicBezTo>
                  <a:cubicBezTo>
                    <a:pt x="297" y="1679"/>
                    <a:pt x="299" y="1712"/>
                    <a:pt x="289" y="1751"/>
                  </a:cubicBezTo>
                  <a:cubicBezTo>
                    <a:pt x="259" y="1863"/>
                    <a:pt x="259" y="1863"/>
                    <a:pt x="259" y="1863"/>
                  </a:cubicBezTo>
                  <a:cubicBezTo>
                    <a:pt x="111" y="1670"/>
                    <a:pt x="23" y="1429"/>
                    <a:pt x="23" y="1168"/>
                  </a:cubicBezTo>
                  <a:cubicBezTo>
                    <a:pt x="23" y="537"/>
                    <a:pt x="536" y="23"/>
                    <a:pt x="1168" y="23"/>
                  </a:cubicBezTo>
                  <a:cubicBezTo>
                    <a:pt x="1550" y="23"/>
                    <a:pt x="1889" y="211"/>
                    <a:pt x="2097" y="501"/>
                  </a:cubicBezTo>
                  <a:cubicBezTo>
                    <a:pt x="2097" y="462"/>
                    <a:pt x="2097" y="462"/>
                    <a:pt x="2097" y="462"/>
                  </a:cubicBezTo>
                  <a:cubicBezTo>
                    <a:pt x="1884" y="181"/>
                    <a:pt x="1547" y="0"/>
                    <a:pt x="1168" y="0"/>
                  </a:cubicBezTo>
                  <a:cubicBezTo>
                    <a:pt x="524" y="0"/>
                    <a:pt x="0" y="524"/>
                    <a:pt x="0" y="1168"/>
                  </a:cubicBezTo>
                  <a:cubicBezTo>
                    <a:pt x="0" y="1663"/>
                    <a:pt x="309" y="2087"/>
                    <a:pt x="745" y="22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130" name="Freeform 64"/>
            <p:cNvSpPr>
              <a:spLocks/>
            </p:cNvSpPr>
            <p:nvPr userDrawn="1"/>
          </p:nvSpPr>
          <p:spPr bwMode="auto">
            <a:xfrm>
              <a:off x="28929013" y="12850812"/>
              <a:ext cx="1820863" cy="2209800"/>
            </a:xfrm>
            <a:custGeom>
              <a:avLst/>
              <a:gdLst>
                <a:gd name="T0" fmla="*/ 575 w 575"/>
                <a:gd name="T1" fmla="*/ 315 h 698"/>
                <a:gd name="T2" fmla="*/ 575 w 575"/>
                <a:gd name="T3" fmla="*/ 276 h 698"/>
                <a:gd name="T4" fmla="*/ 555 w 575"/>
                <a:gd name="T5" fmla="*/ 304 h 698"/>
                <a:gd name="T6" fmla="*/ 525 w 575"/>
                <a:gd name="T7" fmla="*/ 192 h 698"/>
                <a:gd name="T8" fmla="*/ 531 w 575"/>
                <a:gd name="T9" fmla="*/ 93 h 698"/>
                <a:gd name="T10" fmla="*/ 559 w 575"/>
                <a:gd name="T11" fmla="*/ 56 h 698"/>
                <a:gd name="T12" fmla="*/ 574 w 575"/>
                <a:gd name="T13" fmla="*/ 39 h 698"/>
                <a:gd name="T14" fmla="*/ 575 w 575"/>
                <a:gd name="T15" fmla="*/ 38 h 698"/>
                <a:gd name="T16" fmla="*/ 575 w 575"/>
                <a:gd name="T17" fmla="*/ 0 h 698"/>
                <a:gd name="T18" fmla="*/ 557 w 575"/>
                <a:gd name="T19" fmla="*/ 24 h 698"/>
                <a:gd name="T20" fmla="*/ 542 w 575"/>
                <a:gd name="T21" fmla="*/ 41 h 698"/>
                <a:gd name="T22" fmla="*/ 510 w 575"/>
                <a:gd name="T23" fmla="*/ 82 h 698"/>
                <a:gd name="T24" fmla="*/ 502 w 575"/>
                <a:gd name="T25" fmla="*/ 198 h 698"/>
                <a:gd name="T26" fmla="*/ 537 w 575"/>
                <a:gd name="T27" fmla="*/ 327 h 698"/>
                <a:gd name="T28" fmla="*/ 0 w 575"/>
                <a:gd name="T29" fmla="*/ 698 h 698"/>
                <a:gd name="T30" fmla="*/ 68 w 575"/>
                <a:gd name="T31" fmla="*/ 698 h 698"/>
                <a:gd name="T32" fmla="*/ 575 w 575"/>
                <a:gd name="T33" fmla="*/ 315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5" h="698">
                  <a:moveTo>
                    <a:pt x="575" y="315"/>
                  </a:moveTo>
                  <a:cubicBezTo>
                    <a:pt x="575" y="276"/>
                    <a:pt x="575" y="276"/>
                    <a:pt x="575" y="276"/>
                  </a:cubicBezTo>
                  <a:cubicBezTo>
                    <a:pt x="569" y="285"/>
                    <a:pt x="562" y="295"/>
                    <a:pt x="555" y="304"/>
                  </a:cubicBezTo>
                  <a:cubicBezTo>
                    <a:pt x="525" y="192"/>
                    <a:pt x="525" y="192"/>
                    <a:pt x="525" y="192"/>
                  </a:cubicBezTo>
                  <a:cubicBezTo>
                    <a:pt x="515" y="153"/>
                    <a:pt x="517" y="120"/>
                    <a:pt x="531" y="93"/>
                  </a:cubicBezTo>
                  <a:cubicBezTo>
                    <a:pt x="538" y="79"/>
                    <a:pt x="547" y="69"/>
                    <a:pt x="559" y="56"/>
                  </a:cubicBezTo>
                  <a:cubicBezTo>
                    <a:pt x="564" y="51"/>
                    <a:pt x="569" y="45"/>
                    <a:pt x="574" y="39"/>
                  </a:cubicBezTo>
                  <a:cubicBezTo>
                    <a:pt x="575" y="38"/>
                    <a:pt x="575" y="38"/>
                    <a:pt x="575" y="38"/>
                  </a:cubicBezTo>
                  <a:cubicBezTo>
                    <a:pt x="575" y="0"/>
                    <a:pt x="575" y="0"/>
                    <a:pt x="575" y="0"/>
                  </a:cubicBezTo>
                  <a:cubicBezTo>
                    <a:pt x="570" y="8"/>
                    <a:pt x="563" y="16"/>
                    <a:pt x="557" y="24"/>
                  </a:cubicBezTo>
                  <a:cubicBezTo>
                    <a:pt x="551" y="30"/>
                    <a:pt x="546" y="36"/>
                    <a:pt x="542" y="41"/>
                  </a:cubicBezTo>
                  <a:cubicBezTo>
                    <a:pt x="530" y="54"/>
                    <a:pt x="519" y="66"/>
                    <a:pt x="510" y="82"/>
                  </a:cubicBezTo>
                  <a:cubicBezTo>
                    <a:pt x="494" y="114"/>
                    <a:pt x="491" y="153"/>
                    <a:pt x="502" y="198"/>
                  </a:cubicBezTo>
                  <a:cubicBezTo>
                    <a:pt x="537" y="327"/>
                    <a:pt x="537" y="327"/>
                    <a:pt x="537" y="327"/>
                  </a:cubicBezTo>
                  <a:cubicBezTo>
                    <a:pt x="399" y="498"/>
                    <a:pt x="213" y="628"/>
                    <a:pt x="0" y="698"/>
                  </a:cubicBezTo>
                  <a:cubicBezTo>
                    <a:pt x="68" y="698"/>
                    <a:pt x="68" y="698"/>
                    <a:pt x="68" y="698"/>
                  </a:cubicBezTo>
                  <a:cubicBezTo>
                    <a:pt x="271" y="619"/>
                    <a:pt x="446" y="485"/>
                    <a:pt x="575" y="3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sp>
        <p:nvSpPr>
          <p:cNvPr id="64" name="Rechteck 13"/>
          <p:cNvSpPr/>
          <p:nvPr userDrawn="1"/>
        </p:nvSpPr>
        <p:spPr bwMode="gray">
          <a:xfrm rot="540000">
            <a:off x="5561892" y="-236851"/>
            <a:ext cx="2451100" cy="7331702"/>
          </a:xfrm>
          <a:custGeom>
            <a:avLst/>
            <a:gdLst/>
            <a:ahLst/>
            <a:cxnLst/>
            <a:rect l="l" t="t" r="r" b="b"/>
            <a:pathLst>
              <a:path w="2451100" h="7331702">
                <a:moveTo>
                  <a:pt x="0" y="388216"/>
                </a:moveTo>
                <a:lnTo>
                  <a:pt x="2451100" y="0"/>
                </a:lnTo>
                <a:lnTo>
                  <a:pt x="2451100" y="6943486"/>
                </a:lnTo>
                <a:lnTo>
                  <a:pt x="0" y="733170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26" name="Subtitle 2"/>
          <p:cNvSpPr>
            <a:spLocks noGrp="1"/>
          </p:cNvSpPr>
          <p:nvPr>
            <p:ph type="subTitle" idx="1" hasCustomPrompt="1"/>
          </p:nvPr>
        </p:nvSpPr>
        <p:spPr bwMode="black">
          <a:xfrm>
            <a:off x="1023467" y="1736974"/>
            <a:ext cx="5180484" cy="720000"/>
          </a:xfrm>
        </p:spPr>
        <p:txBody>
          <a:bodyPr anchor="t"/>
          <a:lstStyle>
            <a:lvl1pPr marL="0" indent="0" algn="l">
              <a:buNone/>
              <a:defRPr sz="3200" b="0">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dirty="0"/>
              <a:t>Insert </a:t>
            </a:r>
            <a:r>
              <a:rPr lang="de-DE" dirty="0" err="1"/>
              <a:t>text</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 name="Title 1"/>
          <p:cNvSpPr>
            <a:spLocks noGrp="1"/>
          </p:cNvSpPr>
          <p:nvPr>
            <p:ph type="title" hasCustomPrompt="1"/>
          </p:nvPr>
        </p:nvSpPr>
        <p:spPr bwMode="black">
          <a:xfrm>
            <a:off x="1518640" y="2468898"/>
            <a:ext cx="4140000" cy="1440753"/>
          </a:xfrm>
        </p:spPr>
        <p:txBody>
          <a:bodyPr anchor="t"/>
          <a:lstStyle>
            <a:lvl1pPr algn="l">
              <a:defRPr sz="7200" i="1">
                <a:solidFill>
                  <a:schemeClr val="bg1"/>
                </a:solidFill>
              </a:defRPr>
            </a:lvl1pPr>
          </a:lstStyle>
          <a:p>
            <a:r>
              <a:rPr lang="de-DE" dirty="0"/>
              <a:t>Insert </a:t>
            </a:r>
            <a:r>
              <a:rPr lang="de-DE" dirty="0" err="1"/>
              <a:t>text</a:t>
            </a:r>
            <a:endParaRPr lang="en-US" dirty="0"/>
          </a:p>
        </p:txBody>
      </p:sp>
      <p:sp>
        <p:nvSpPr>
          <p:cNvPr id="10" name="Datumsplatzhalter 9"/>
          <p:cNvSpPr>
            <a:spLocks noGrp="1"/>
          </p:cNvSpPr>
          <p:nvPr>
            <p:ph type="dt" sz="half" idx="10"/>
          </p:nvPr>
        </p:nvSpPr>
        <p:spPr/>
        <p:txBody>
          <a:bodyPr/>
          <a:lstStyle/>
          <a:p>
            <a:endParaRPr lang="en-US" dirty="0"/>
          </a:p>
        </p:txBody>
      </p:sp>
      <p:sp>
        <p:nvSpPr>
          <p:cNvPr id="11" name="Fußzeilenplatzhalter 10"/>
          <p:cNvSpPr>
            <a:spLocks noGrp="1"/>
          </p:cNvSpPr>
          <p:nvPr>
            <p:ph type="ftr" sz="quarter" idx="11"/>
          </p:nvPr>
        </p:nvSpPr>
        <p:spPr/>
        <p:txBody>
          <a:bodyPr/>
          <a:lstStyle>
            <a:lvl1pPr>
              <a:defRPr>
                <a:solidFill>
                  <a:schemeClr val="bg1"/>
                </a:solidFill>
              </a:defRPr>
            </a:lvl1pPr>
          </a:lstStyle>
          <a:p>
            <a:r>
              <a:rPr lang="en-US">
                <a:solidFill>
                  <a:srgbClr val="FFFFFF"/>
                </a:solidFill>
              </a:rPr>
              <a:t>/// Advancing Innovation at Bayer /// May 2019</a:t>
            </a:r>
            <a:endParaRPr lang="en-US" dirty="0">
              <a:solidFill>
                <a:srgbClr val="FFFFFF"/>
              </a:solidFill>
            </a:endParaRPr>
          </a:p>
        </p:txBody>
      </p:sp>
      <p:sp>
        <p:nvSpPr>
          <p:cNvPr id="12" name="Foliennummernplatzhalter 11"/>
          <p:cNvSpPr>
            <a:spLocks noGrp="1"/>
          </p:cNvSpPr>
          <p:nvPr>
            <p:ph type="sldNum" sz="quarter" idx="12"/>
          </p:nvPr>
        </p:nvSpPr>
        <p:spPr/>
        <p:txBody>
          <a:bodyPr/>
          <a:lstStyle>
            <a:lvl1pPr>
              <a:defRPr>
                <a:solidFill>
                  <a:schemeClr val="bg1"/>
                </a:solidFill>
              </a:defRPr>
            </a:lvl1pPr>
          </a:lstStyle>
          <a:p>
            <a:fld id="{EEAD9179-7A6B-4268-BEB2-F3B8EB06115B}" type="slidenum">
              <a:rPr lang="en-US" smtClean="0">
                <a:solidFill>
                  <a:srgbClr val="FFFFFF"/>
                </a:solidFill>
              </a:rPr>
              <a:pPr/>
              <a:t>‹#›</a:t>
            </a:fld>
            <a:endParaRPr lang="en-US" dirty="0">
              <a:solidFill>
                <a:srgbClr val="FFFFFF"/>
              </a:solidFill>
            </a:endParaRPr>
          </a:p>
        </p:txBody>
      </p:sp>
      <p:sp>
        <p:nvSpPr>
          <p:cNvPr id="62" name="Rechteck 5"/>
          <p:cNvSpPr/>
          <p:nvPr userDrawn="1"/>
        </p:nvSpPr>
        <p:spPr bwMode="gray">
          <a:xfrm rot="2760000">
            <a:off x="10257617" y="2334551"/>
            <a:ext cx="41621" cy="5356151"/>
          </a:xfrm>
          <a:custGeom>
            <a:avLst/>
            <a:gdLst/>
            <a:ahLst/>
            <a:cxnLst/>
            <a:rect l="l" t="t" r="r" b="b"/>
            <a:pathLst>
              <a:path w="41621" h="5356151">
                <a:moveTo>
                  <a:pt x="0" y="0"/>
                </a:moveTo>
                <a:lnTo>
                  <a:pt x="41621" y="40193"/>
                </a:lnTo>
                <a:lnTo>
                  <a:pt x="41621" y="5313051"/>
                </a:lnTo>
                <a:lnTo>
                  <a:pt x="0" y="535615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63" name="Rechteck 9"/>
          <p:cNvSpPr/>
          <p:nvPr userDrawn="1"/>
        </p:nvSpPr>
        <p:spPr bwMode="gray">
          <a:xfrm rot="540000">
            <a:off x="8003954" y="-46531"/>
            <a:ext cx="47836" cy="6951062"/>
          </a:xfrm>
          <a:custGeom>
            <a:avLst/>
            <a:gdLst/>
            <a:ahLst/>
            <a:cxnLst/>
            <a:rect l="l" t="t" r="r" b="b"/>
            <a:pathLst>
              <a:path w="47836" h="6951062">
                <a:moveTo>
                  <a:pt x="47836" y="0"/>
                </a:moveTo>
                <a:lnTo>
                  <a:pt x="47836" y="6943486"/>
                </a:lnTo>
                <a:lnTo>
                  <a:pt x="0" y="6951062"/>
                </a:lnTo>
                <a:lnTo>
                  <a:pt x="1" y="757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1" name="Gruppieren 130"/>
          <p:cNvGrpSpPr/>
          <p:nvPr userDrawn="1"/>
        </p:nvGrpSpPr>
        <p:grpSpPr>
          <a:xfrm>
            <a:off x="-48229" y="1770319"/>
            <a:ext cx="916769" cy="412749"/>
            <a:chOff x="863771" y="2247417"/>
            <a:chExt cx="916769" cy="294170"/>
          </a:xfrm>
        </p:grpSpPr>
        <p:cxnSp>
          <p:nvCxnSpPr>
            <p:cNvPr id="132" name="Gerade Verbindung 131"/>
            <p:cNvCxnSpPr/>
            <p:nvPr/>
          </p:nvCxnSpPr>
          <p:spPr bwMode="gray">
            <a:xfrm rot="900000" flipV="1">
              <a:off x="86377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bwMode="gray">
            <a:xfrm rot="900000" flipV="1">
              <a:off x="94016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p:nvCxnSpPr>
          <p:spPr bwMode="gray">
            <a:xfrm rot="900000" flipV="1">
              <a:off x="1016565"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 name="Gerade Verbindung 134"/>
            <p:cNvCxnSpPr/>
            <p:nvPr/>
          </p:nvCxnSpPr>
          <p:spPr bwMode="gray">
            <a:xfrm rot="900000" flipV="1">
              <a:off x="1092962"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bwMode="gray">
            <a:xfrm rot="900000" flipV="1">
              <a:off x="1169359"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Gerade Verbindung 136"/>
            <p:cNvCxnSpPr/>
            <p:nvPr/>
          </p:nvCxnSpPr>
          <p:spPr bwMode="gray">
            <a:xfrm rot="900000" flipV="1">
              <a:off x="1245756"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Gerade Verbindung 137"/>
            <p:cNvCxnSpPr/>
            <p:nvPr/>
          </p:nvCxnSpPr>
          <p:spPr bwMode="gray">
            <a:xfrm rot="900000" flipV="1">
              <a:off x="1322153"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Gerade Verbindung 138"/>
            <p:cNvCxnSpPr/>
            <p:nvPr/>
          </p:nvCxnSpPr>
          <p:spPr bwMode="gray">
            <a:xfrm rot="900000" flipV="1">
              <a:off x="139855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0" name="Gerade Verbindung 139"/>
            <p:cNvCxnSpPr/>
            <p:nvPr/>
          </p:nvCxnSpPr>
          <p:spPr bwMode="gray">
            <a:xfrm rot="900000" flipV="1">
              <a:off x="1474947"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1" name="Gerade Verbindung 140"/>
            <p:cNvCxnSpPr/>
            <p:nvPr/>
          </p:nvCxnSpPr>
          <p:spPr bwMode="gray">
            <a:xfrm rot="900000" flipV="1">
              <a:off x="1551344"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Gerade Verbindung 141"/>
            <p:cNvCxnSpPr/>
            <p:nvPr/>
          </p:nvCxnSpPr>
          <p:spPr bwMode="gray">
            <a:xfrm rot="900000" flipV="1">
              <a:off x="1627741"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Gerade Verbindung 142"/>
            <p:cNvCxnSpPr/>
            <p:nvPr/>
          </p:nvCxnSpPr>
          <p:spPr bwMode="gray">
            <a:xfrm rot="900000" flipV="1">
              <a:off x="1704138"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Gerade Verbindung 143"/>
            <p:cNvCxnSpPr/>
            <p:nvPr/>
          </p:nvCxnSpPr>
          <p:spPr bwMode="gray">
            <a:xfrm rot="900000" flipV="1">
              <a:off x="1780540" y="2247417"/>
              <a:ext cx="0" cy="2941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628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_1">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076DA6"/>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37" y="1732751"/>
            <a:ext cx="10134044"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179287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_2">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5B9639"/>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37" y="1732751"/>
            <a:ext cx="10134044"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44982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_3">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solidFill>
              <a:schemeClr val="accent5"/>
            </a:solid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37" y="1732751"/>
            <a:ext cx="10134044"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248331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xmlns="" id="{58331062-53AF-412B-A235-6DCBA819F08B}"/>
              </a:ext>
            </a:extLst>
          </p:cNvPr>
          <p:cNvSpPr/>
          <p:nvPr userDrawn="1"/>
        </p:nvSpPr>
        <p:spPr bwMode="gray">
          <a:xfrm>
            <a:off x="4075459" y="0"/>
            <a:ext cx="8114954"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F99CCC57-2F27-4712-AC15-A35FC57882C5}" type="datetime1">
              <a:rPr lang="en-US" smtClean="0"/>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September 2018</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0" y="2424948"/>
            <a:ext cx="3620357"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3"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8"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xmlns="" id="{4F895202-4A4D-43A2-B3BF-4253EA64031B}"/>
              </a:ext>
            </a:extLst>
          </p:cNvPr>
          <p:cNvSpPr>
            <a:spLocks noGrp="1"/>
          </p:cNvSpPr>
          <p:nvPr>
            <p:ph type="pic" sz="quarter" idx="14"/>
          </p:nvPr>
        </p:nvSpPr>
        <p:spPr bwMode="gray">
          <a:xfrm>
            <a:off x="4112872" y="0"/>
            <a:ext cx="8079923"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xmlns="" id="{82EE1829-716E-40CB-A4A0-CAB36B358641}"/>
              </a:ext>
            </a:extLst>
          </p:cNvPr>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pic>
        <p:nvPicPr>
          <p:cNvPr id="14" name="Picture 13"/>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a:off x="0" y="3649942"/>
            <a:ext cx="2713256" cy="3208058"/>
          </a:xfrm>
          <a:prstGeom prst="rect">
            <a:avLst/>
          </a:prstGeom>
        </p:spPr>
      </p:pic>
      <p:pic>
        <p:nvPicPr>
          <p:cNvPr id="3074" name="Picture 2" descr="C:\Users\GIKGV\AppData\Local\Microsoft\Windows\Temporary Internet Files\Content.Outlook\57CHKXEZ\Advancing Digital_weiß (2).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0594" y="5876923"/>
            <a:ext cx="3048006" cy="60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7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ext_1">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076DA6"/>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36" name="Content Placeholder 3"/>
          <p:cNvSpPr>
            <a:spLocks noGrp="1"/>
          </p:cNvSpPr>
          <p:nvPr>
            <p:ph sz="quarter" idx="18"/>
          </p:nvPr>
        </p:nvSpPr>
        <p:spPr>
          <a:xfrm>
            <a:off x="1627188"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7" name="Content Placeholder 3"/>
          <p:cNvSpPr>
            <a:spLocks noGrp="1"/>
          </p:cNvSpPr>
          <p:nvPr>
            <p:ph sz="quarter" idx="19"/>
          </p:nvPr>
        </p:nvSpPr>
        <p:spPr>
          <a:xfrm>
            <a:off x="4085635"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8" name="Content Placeholder 3"/>
          <p:cNvSpPr>
            <a:spLocks noGrp="1"/>
          </p:cNvSpPr>
          <p:nvPr>
            <p:ph sz="quarter" idx="20"/>
          </p:nvPr>
        </p:nvSpPr>
        <p:spPr>
          <a:xfrm>
            <a:off x="6544082"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9" name="Content Placeholder 3"/>
          <p:cNvSpPr>
            <a:spLocks noGrp="1"/>
          </p:cNvSpPr>
          <p:nvPr>
            <p:ph sz="quarter" idx="21"/>
          </p:nvPr>
        </p:nvSpPr>
        <p:spPr>
          <a:xfrm>
            <a:off x="9002529"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Tree>
    <p:extLst>
      <p:ext uri="{BB962C8B-B14F-4D97-AF65-F5344CB8AC3E}">
        <p14:creationId xmlns:p14="http://schemas.microsoft.com/office/powerpoint/2010/main" val="239051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ext_2">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5B9639"/>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36" name="Content Placeholder 3"/>
          <p:cNvSpPr>
            <a:spLocks noGrp="1"/>
          </p:cNvSpPr>
          <p:nvPr>
            <p:ph sz="quarter" idx="18"/>
          </p:nvPr>
        </p:nvSpPr>
        <p:spPr>
          <a:xfrm>
            <a:off x="1627188"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7" name="Content Placeholder 3"/>
          <p:cNvSpPr>
            <a:spLocks noGrp="1"/>
          </p:cNvSpPr>
          <p:nvPr>
            <p:ph sz="quarter" idx="19"/>
          </p:nvPr>
        </p:nvSpPr>
        <p:spPr>
          <a:xfrm>
            <a:off x="4085635"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8" name="Content Placeholder 3"/>
          <p:cNvSpPr>
            <a:spLocks noGrp="1"/>
          </p:cNvSpPr>
          <p:nvPr>
            <p:ph sz="quarter" idx="20"/>
          </p:nvPr>
        </p:nvSpPr>
        <p:spPr>
          <a:xfrm>
            <a:off x="6544082"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9" name="Content Placeholder 3"/>
          <p:cNvSpPr>
            <a:spLocks noGrp="1"/>
          </p:cNvSpPr>
          <p:nvPr>
            <p:ph sz="quarter" idx="21"/>
          </p:nvPr>
        </p:nvSpPr>
        <p:spPr>
          <a:xfrm>
            <a:off x="9002529"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Tree>
    <p:extLst>
      <p:ext uri="{BB962C8B-B14F-4D97-AF65-F5344CB8AC3E}">
        <p14:creationId xmlns:p14="http://schemas.microsoft.com/office/powerpoint/2010/main" val="43610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_3">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solidFill>
              <a:schemeClr val="accent5"/>
            </a:solid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1013231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1646241" y="181938"/>
            <a:ext cx="10134043" cy="864000"/>
          </a:xfrm>
        </p:spPr>
        <p:txBody>
          <a:bodyPr/>
          <a:lstStyle/>
          <a:p>
            <a:r>
              <a:rPr lang="de-DE"/>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36" name="Content Placeholder 3"/>
          <p:cNvSpPr>
            <a:spLocks noGrp="1"/>
          </p:cNvSpPr>
          <p:nvPr>
            <p:ph sz="quarter" idx="18"/>
          </p:nvPr>
        </p:nvSpPr>
        <p:spPr>
          <a:xfrm>
            <a:off x="1627188"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7" name="Content Placeholder 3"/>
          <p:cNvSpPr>
            <a:spLocks noGrp="1"/>
          </p:cNvSpPr>
          <p:nvPr>
            <p:ph sz="quarter" idx="19"/>
          </p:nvPr>
        </p:nvSpPr>
        <p:spPr>
          <a:xfrm>
            <a:off x="4085635"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8" name="Content Placeholder 3"/>
          <p:cNvSpPr>
            <a:spLocks noGrp="1"/>
          </p:cNvSpPr>
          <p:nvPr>
            <p:ph sz="quarter" idx="20"/>
          </p:nvPr>
        </p:nvSpPr>
        <p:spPr>
          <a:xfrm>
            <a:off x="6544082"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
        <p:nvSpPr>
          <p:cNvPr id="39" name="Content Placeholder 3"/>
          <p:cNvSpPr>
            <a:spLocks noGrp="1"/>
          </p:cNvSpPr>
          <p:nvPr>
            <p:ph sz="quarter" idx="21"/>
          </p:nvPr>
        </p:nvSpPr>
        <p:spPr>
          <a:xfrm>
            <a:off x="9002529" y="2428879"/>
            <a:ext cx="1973262" cy="2314575"/>
          </a:xfrm>
          <a:prstGeom prst="rect">
            <a:avLst/>
          </a:prstGeom>
        </p:spPr>
        <p:txBody>
          <a:bodyPr/>
          <a:lstStyle>
            <a:lvl1pPr marL="0" indent="0">
              <a:buNone/>
              <a:defRPr sz="1000"/>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a:t>
            </a:r>
            <a:r>
              <a:rPr lang="en-US"/>
              <a:t>text styles</a:t>
            </a:r>
            <a:endParaRPr lang="en-US" dirty="0"/>
          </a:p>
          <a:p>
            <a:pPr lvl="0"/>
            <a:endParaRPr lang="en-US" dirty="0"/>
          </a:p>
        </p:txBody>
      </p:sp>
    </p:spTree>
    <p:extLst>
      <p:ext uri="{BB962C8B-B14F-4D97-AF65-F5344CB8AC3E}">
        <p14:creationId xmlns:p14="http://schemas.microsoft.com/office/powerpoint/2010/main" val="100890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1_with_picture">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076DA6"/>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37" y="181938"/>
            <a:ext cx="7041600" cy="864000"/>
          </a:xfrm>
        </p:spPr>
        <p:txBody>
          <a:bodyPr/>
          <a:lstStyle/>
          <a:p>
            <a:r>
              <a:rPr lang="de-DE" dirty="0"/>
              <a:t>Titelmasterformat durch Klicken bearbeiten</a:t>
            </a:r>
            <a:endParaRPr lang="en-US" dirty="0"/>
          </a:p>
        </p:txBody>
      </p:sp>
      <p:sp>
        <p:nvSpPr>
          <p:cNvPr id="11" name="Text Placeholder 10"/>
          <p:cNvSpPr>
            <a:spLocks noGrp="1"/>
          </p:cNvSpPr>
          <p:nvPr>
            <p:ph type="body" sz="quarter" idx="14"/>
          </p:nvPr>
        </p:nvSpPr>
        <p:spPr bwMode="gray">
          <a:xfrm>
            <a:off x="1646241" y="1732751"/>
            <a:ext cx="6263323" cy="4752000"/>
          </a:xfrm>
        </p:spPr>
        <p:txBody>
          <a:bodyPr/>
          <a:lstStyle>
            <a:lvl5pP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Tree>
    <p:extLst>
      <p:ext uri="{BB962C8B-B14F-4D97-AF65-F5344CB8AC3E}">
        <p14:creationId xmlns:p14="http://schemas.microsoft.com/office/powerpoint/2010/main" val="151679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_2_with_picture">
    <p:spTree>
      <p:nvGrpSpPr>
        <p:cNvPr id="1" name=""/>
        <p:cNvGrpSpPr/>
        <p:nvPr/>
      </p:nvGrpSpPr>
      <p:grpSpPr>
        <a:xfrm>
          <a:off x="0" y="0"/>
          <a:ext cx="0" cy="0"/>
          <a:chOff x="0" y="0"/>
          <a:chExt cx="0" cy="0"/>
        </a:xfrm>
      </p:grpSpPr>
      <p:sp>
        <p:nvSpPr>
          <p:cNvPr id="36"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7" name="Gruppieren 36"/>
          <p:cNvGrpSpPr/>
          <p:nvPr userDrawn="1"/>
        </p:nvGrpSpPr>
        <p:grpSpPr>
          <a:xfrm>
            <a:off x="-14837" y="2531937"/>
            <a:ext cx="1333184" cy="2800848"/>
            <a:chOff x="-14839" y="2531937"/>
            <a:chExt cx="1333184" cy="2800848"/>
          </a:xfrm>
          <a:solidFill>
            <a:srgbClr val="5B9639"/>
          </a:solidFill>
        </p:grpSpPr>
        <p:sp>
          <p:nvSpPr>
            <p:cNvPr id="38"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9"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0"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1"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2"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43"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44" name="Group 4"/>
            <p:cNvGrpSpPr>
              <a:grpSpLocks noChangeAspect="1"/>
            </p:cNvGrpSpPr>
            <p:nvPr userDrawn="1"/>
          </p:nvGrpSpPr>
          <p:grpSpPr bwMode="auto">
            <a:xfrm>
              <a:off x="-5461" y="2981335"/>
              <a:ext cx="234110" cy="732254"/>
              <a:chOff x="3641" y="1534"/>
              <a:chExt cx="399" cy="1248"/>
            </a:xfrm>
            <a:grpFill/>
          </p:grpSpPr>
          <p:sp>
            <p:nvSpPr>
              <p:cNvPr id="45"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6"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grpSp>
        <p:nvGrpSpPr>
          <p:cNvPr id="47" name="Group 219"/>
          <p:cNvGrpSpPr>
            <a:grpSpLocks noChangeAspect="1"/>
          </p:cNvGrpSpPr>
          <p:nvPr userDrawn="1"/>
        </p:nvGrpSpPr>
        <p:grpSpPr bwMode="gray">
          <a:xfrm>
            <a:off x="395324" y="429626"/>
            <a:ext cx="395248" cy="396000"/>
            <a:chOff x="6936" y="180"/>
            <a:chExt cx="526" cy="527"/>
          </a:xfrm>
          <a:solidFill>
            <a:schemeClr val="bg1"/>
          </a:solidFill>
        </p:grpSpPr>
        <p:sp>
          <p:nvSpPr>
            <p:cNvPr id="48"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49"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0"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1"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2"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3"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4"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5"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6"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7"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8" name="Subtitle 2"/>
          <p:cNvSpPr>
            <a:spLocks noGrp="1"/>
          </p:cNvSpPr>
          <p:nvPr>
            <p:ph type="subTitle" idx="13"/>
          </p:nvPr>
        </p:nvSpPr>
        <p:spPr bwMode="gray">
          <a:xfrm>
            <a:off x="1647969"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1646237" y="181938"/>
            <a:ext cx="7041600" cy="864000"/>
          </a:xfrm>
        </p:spPr>
        <p:txBody>
          <a:bodyPr/>
          <a:lstStyle/>
          <a:p>
            <a:r>
              <a:rPr lang="de-DE"/>
              <a:t>Titelmasterformat durch Klicken bearbeiten</a:t>
            </a:r>
            <a:endParaRPr lang="en-US" dirty="0"/>
          </a:p>
        </p:txBody>
      </p:sp>
      <p:sp>
        <p:nvSpPr>
          <p:cNvPr id="11" name="Text Placeholder 10"/>
          <p:cNvSpPr>
            <a:spLocks noGrp="1"/>
          </p:cNvSpPr>
          <p:nvPr>
            <p:ph type="body" sz="quarter" idx="14"/>
          </p:nvPr>
        </p:nvSpPr>
        <p:spPr bwMode="gray">
          <a:xfrm>
            <a:off x="1646241" y="1732751"/>
            <a:ext cx="6263323" cy="4752000"/>
          </a:xfrm>
        </p:spPr>
        <p:txBody>
          <a:bodyPr/>
          <a:lstStyle>
            <a:lvl5pP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
        <p:nvSpPr>
          <p:cNvPr id="58"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487067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_3_with_picture">
    <p:spTree>
      <p:nvGrpSpPr>
        <p:cNvPr id="1" name=""/>
        <p:cNvGrpSpPr/>
        <p:nvPr/>
      </p:nvGrpSpPr>
      <p:grpSpPr>
        <a:xfrm>
          <a:off x="0" y="0"/>
          <a:ext cx="0" cy="0"/>
          <a:chOff x="0" y="0"/>
          <a:chExt cx="0" cy="0"/>
        </a:xfrm>
      </p:grpSpPr>
      <p:sp>
        <p:nvSpPr>
          <p:cNvPr id="33"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4" name="Gruppieren 33"/>
          <p:cNvGrpSpPr/>
          <p:nvPr userDrawn="1"/>
        </p:nvGrpSpPr>
        <p:grpSpPr>
          <a:xfrm>
            <a:off x="-14837" y="2531937"/>
            <a:ext cx="1333184" cy="2800848"/>
            <a:chOff x="-14839" y="2531937"/>
            <a:chExt cx="1333184" cy="2800848"/>
          </a:xfrm>
        </p:grpSpPr>
        <p:sp>
          <p:nvSpPr>
            <p:cNvPr id="35"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59"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0" name="Rectangle 16"/>
            <p:cNvSpPr>
              <a:spLocks noChangeArrowheads="1"/>
            </p:cNvSpPr>
            <p:nvPr userDrawn="1"/>
          </p:nvSpPr>
          <p:spPr bwMode="auto">
            <a:xfrm>
              <a:off x="257903" y="3257939"/>
              <a:ext cx="148200" cy="2795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1"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2"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63"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64" name="Group 4"/>
            <p:cNvGrpSpPr>
              <a:grpSpLocks noChangeAspect="1"/>
            </p:cNvGrpSpPr>
            <p:nvPr userDrawn="1"/>
          </p:nvGrpSpPr>
          <p:grpSpPr bwMode="auto">
            <a:xfrm>
              <a:off x="-5461" y="2981335"/>
              <a:ext cx="234110" cy="732254"/>
              <a:chOff x="3641" y="1534"/>
              <a:chExt cx="399" cy="1248"/>
            </a:xfrm>
            <a:solidFill>
              <a:schemeClr val="accent5"/>
            </a:solidFill>
          </p:grpSpPr>
          <p:sp>
            <p:nvSpPr>
              <p:cNvPr id="65"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6"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grpSp>
        <p:nvGrpSpPr>
          <p:cNvPr id="67" name="Group 219"/>
          <p:cNvGrpSpPr>
            <a:grpSpLocks noChangeAspect="1"/>
          </p:cNvGrpSpPr>
          <p:nvPr userDrawn="1"/>
        </p:nvGrpSpPr>
        <p:grpSpPr bwMode="gray">
          <a:xfrm>
            <a:off x="395324" y="429626"/>
            <a:ext cx="395248" cy="396000"/>
            <a:chOff x="6936" y="180"/>
            <a:chExt cx="526" cy="527"/>
          </a:xfrm>
          <a:solidFill>
            <a:schemeClr val="bg1"/>
          </a:solidFill>
        </p:grpSpPr>
        <p:sp>
          <p:nvSpPr>
            <p:cNvPr id="68"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69"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0"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1"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2"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3"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4"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5"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6"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7"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8" name="Subtitle 2"/>
          <p:cNvSpPr>
            <a:spLocks noGrp="1"/>
          </p:cNvSpPr>
          <p:nvPr>
            <p:ph type="subTitle" idx="13"/>
          </p:nvPr>
        </p:nvSpPr>
        <p:spPr bwMode="gray">
          <a:xfrm>
            <a:off x="1647969"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1646237" y="181938"/>
            <a:ext cx="7041600" cy="864000"/>
          </a:xfrm>
        </p:spPr>
        <p:txBody>
          <a:bodyPr/>
          <a:lstStyle/>
          <a:p>
            <a:r>
              <a:rPr lang="de-DE" dirty="0"/>
              <a:t>Titelmasterformat durch Klicken bearbeiten</a:t>
            </a:r>
            <a:endParaRPr lang="en-US" dirty="0"/>
          </a:p>
        </p:txBody>
      </p:sp>
      <p:sp>
        <p:nvSpPr>
          <p:cNvPr id="11" name="Text Placeholder 10"/>
          <p:cNvSpPr>
            <a:spLocks noGrp="1"/>
          </p:cNvSpPr>
          <p:nvPr>
            <p:ph type="body" sz="quarter" idx="14"/>
          </p:nvPr>
        </p:nvSpPr>
        <p:spPr bwMode="gray">
          <a:xfrm>
            <a:off x="1646241" y="1732751"/>
            <a:ext cx="6263323" cy="4752000"/>
          </a:xfrm>
        </p:spPr>
        <p:txBody>
          <a:bodyPr/>
          <a:lstStyle>
            <a:lvl5pP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
        <p:nvSpPr>
          <p:cNvPr id="78"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Tree>
    <p:extLst>
      <p:ext uri="{BB962C8B-B14F-4D97-AF65-F5344CB8AC3E}">
        <p14:creationId xmlns:p14="http://schemas.microsoft.com/office/powerpoint/2010/main" val="22381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xt_1_with_picture">
    <p:spTree>
      <p:nvGrpSpPr>
        <p:cNvPr id="1" name=""/>
        <p:cNvGrpSpPr/>
        <p:nvPr/>
      </p:nvGrpSpPr>
      <p:grpSpPr>
        <a:xfrm>
          <a:off x="0" y="0"/>
          <a:ext cx="0" cy="0"/>
          <a:chOff x="0" y="0"/>
          <a:chExt cx="0" cy="0"/>
        </a:xfrm>
      </p:grpSpPr>
      <p:sp>
        <p:nvSpPr>
          <p:cNvPr id="12"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5" name="Gruppieren 34"/>
          <p:cNvGrpSpPr/>
          <p:nvPr userDrawn="1"/>
        </p:nvGrpSpPr>
        <p:grpSpPr>
          <a:xfrm>
            <a:off x="-14837" y="2531937"/>
            <a:ext cx="1333184" cy="2800848"/>
            <a:chOff x="-14839" y="2531937"/>
            <a:chExt cx="1333184" cy="2800848"/>
          </a:xfrm>
          <a:solidFill>
            <a:srgbClr val="076DA6"/>
          </a:solidFill>
        </p:grpSpPr>
        <p:sp>
          <p:nvSpPr>
            <p:cNvPr id="26"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7"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8"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29"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0"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31"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32" name="Group 4"/>
            <p:cNvGrpSpPr>
              <a:grpSpLocks noChangeAspect="1"/>
            </p:cNvGrpSpPr>
            <p:nvPr userDrawn="1"/>
          </p:nvGrpSpPr>
          <p:grpSpPr bwMode="auto">
            <a:xfrm>
              <a:off x="-5461" y="2981335"/>
              <a:ext cx="234110" cy="732254"/>
              <a:chOff x="3641" y="1534"/>
              <a:chExt cx="399" cy="1248"/>
            </a:xfrm>
            <a:grpFill/>
          </p:grpSpPr>
          <p:sp>
            <p:nvSpPr>
              <p:cNvPr id="33"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4"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13" name="Group 219"/>
          <p:cNvGrpSpPr>
            <a:grpSpLocks noChangeAspect="1"/>
          </p:cNvGrpSpPr>
          <p:nvPr userDrawn="1"/>
        </p:nvGrpSpPr>
        <p:grpSpPr bwMode="gray">
          <a:xfrm>
            <a:off x="395324" y="429626"/>
            <a:ext cx="395248" cy="396000"/>
            <a:chOff x="6936" y="180"/>
            <a:chExt cx="526" cy="527"/>
          </a:xfrm>
          <a:solidFill>
            <a:schemeClr val="bg1"/>
          </a:solidFill>
        </p:grpSpPr>
        <p:sp>
          <p:nvSpPr>
            <p:cNvPr id="14"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5"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6"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7"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8"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19"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0"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1"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2"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23"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8" name="Subtitle 2"/>
          <p:cNvSpPr>
            <a:spLocks noGrp="1"/>
          </p:cNvSpPr>
          <p:nvPr>
            <p:ph type="subTitle" idx="13"/>
          </p:nvPr>
        </p:nvSpPr>
        <p:spPr bwMode="gray">
          <a:xfrm>
            <a:off x="1647969"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38" y="181938"/>
            <a:ext cx="7041600" cy="864000"/>
          </a:xfrm>
        </p:spPr>
        <p:txBody>
          <a:bodyPr/>
          <a:lstStyle/>
          <a:p>
            <a:r>
              <a:rPr lang="de-DE" dirty="0"/>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5"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
        <p:nvSpPr>
          <p:cNvPr id="36" name="Content Placeholder 3"/>
          <p:cNvSpPr>
            <a:spLocks noGrp="1"/>
          </p:cNvSpPr>
          <p:nvPr>
            <p:ph sz="quarter" idx="19"/>
          </p:nvPr>
        </p:nvSpPr>
        <p:spPr>
          <a:xfrm>
            <a:off x="1627187" y="2428876"/>
            <a:ext cx="5643111" cy="1880732"/>
          </a:xfrm>
          <a:prstGeom prst="rect">
            <a:avLst/>
          </a:prstGeom>
        </p:spPr>
        <p:txBody>
          <a:bodyPr/>
          <a:lstStyle>
            <a:lvl1pPr marL="0" indent="0">
              <a:buNone/>
              <a:defRPr sz="1200">
                <a:solidFill>
                  <a:srgbClr val="104862"/>
                </a:solidFill>
              </a:defRPr>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text style</a:t>
            </a:r>
          </a:p>
        </p:txBody>
      </p:sp>
      <p:sp>
        <p:nvSpPr>
          <p:cNvPr id="37" name="Picture Placeholder 23"/>
          <p:cNvSpPr>
            <a:spLocks noGrp="1"/>
          </p:cNvSpPr>
          <p:nvPr>
            <p:ph type="pic" sz="quarter" idx="20"/>
          </p:nvPr>
        </p:nvSpPr>
        <p:spPr>
          <a:xfrm>
            <a:off x="1627192"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39" name="Picture Placeholder 23"/>
          <p:cNvSpPr>
            <a:spLocks noGrp="1"/>
          </p:cNvSpPr>
          <p:nvPr>
            <p:ph type="pic" sz="quarter" idx="22"/>
          </p:nvPr>
        </p:nvSpPr>
        <p:spPr>
          <a:xfrm>
            <a:off x="5539928"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40" name="Picture Placeholder 23"/>
          <p:cNvSpPr>
            <a:spLocks noGrp="1"/>
          </p:cNvSpPr>
          <p:nvPr>
            <p:ph type="pic" sz="quarter" idx="23"/>
          </p:nvPr>
        </p:nvSpPr>
        <p:spPr>
          <a:xfrm>
            <a:off x="3583560"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Tree>
    <p:extLst>
      <p:ext uri="{BB962C8B-B14F-4D97-AF65-F5344CB8AC3E}">
        <p14:creationId xmlns:p14="http://schemas.microsoft.com/office/powerpoint/2010/main" val="33278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_2_with_picture">
    <p:spTree>
      <p:nvGrpSpPr>
        <p:cNvPr id="1" name=""/>
        <p:cNvGrpSpPr/>
        <p:nvPr/>
      </p:nvGrpSpPr>
      <p:grpSpPr>
        <a:xfrm>
          <a:off x="0" y="0"/>
          <a:ext cx="0" cy="0"/>
          <a:chOff x="0" y="0"/>
          <a:chExt cx="0" cy="0"/>
        </a:xfrm>
      </p:grpSpPr>
      <p:sp>
        <p:nvSpPr>
          <p:cNvPr id="36"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7" name="Gruppieren 36"/>
          <p:cNvGrpSpPr/>
          <p:nvPr userDrawn="1"/>
        </p:nvGrpSpPr>
        <p:grpSpPr>
          <a:xfrm>
            <a:off x="-14837" y="2531937"/>
            <a:ext cx="1333184" cy="2800848"/>
            <a:chOff x="-14839" y="2531937"/>
            <a:chExt cx="1333184" cy="2800848"/>
          </a:xfrm>
          <a:solidFill>
            <a:srgbClr val="5B9639"/>
          </a:solidFill>
        </p:grpSpPr>
        <p:sp>
          <p:nvSpPr>
            <p:cNvPr id="38"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39"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0" name="Rectangle 16"/>
            <p:cNvSpPr>
              <a:spLocks noChangeArrowheads="1"/>
            </p:cNvSpPr>
            <p:nvPr userDrawn="1"/>
          </p:nvSpPr>
          <p:spPr bwMode="auto">
            <a:xfrm>
              <a:off x="257903" y="3257939"/>
              <a:ext cx="148200" cy="27950"/>
            </a:xfrm>
            <a:prstGeom prst="rect">
              <a:avLst/>
            </a:pr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1"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grp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2"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43"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44" name="Group 4"/>
            <p:cNvGrpSpPr>
              <a:grpSpLocks noChangeAspect="1"/>
            </p:cNvGrpSpPr>
            <p:nvPr userDrawn="1"/>
          </p:nvGrpSpPr>
          <p:grpSpPr bwMode="auto">
            <a:xfrm>
              <a:off x="-5461" y="2981335"/>
              <a:ext cx="234110" cy="732254"/>
              <a:chOff x="3641" y="1534"/>
              <a:chExt cx="399" cy="1248"/>
            </a:xfrm>
            <a:grpFill/>
          </p:grpSpPr>
          <p:sp>
            <p:nvSpPr>
              <p:cNvPr id="45"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46"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grpSp>
        <p:nvGrpSpPr>
          <p:cNvPr id="47" name="Group 219"/>
          <p:cNvGrpSpPr>
            <a:grpSpLocks noChangeAspect="1"/>
          </p:cNvGrpSpPr>
          <p:nvPr userDrawn="1"/>
        </p:nvGrpSpPr>
        <p:grpSpPr bwMode="gray">
          <a:xfrm>
            <a:off x="395324" y="429626"/>
            <a:ext cx="395248" cy="396000"/>
            <a:chOff x="6936" y="180"/>
            <a:chExt cx="526" cy="527"/>
          </a:xfrm>
          <a:solidFill>
            <a:schemeClr val="bg1"/>
          </a:solidFill>
        </p:grpSpPr>
        <p:sp>
          <p:nvSpPr>
            <p:cNvPr id="48"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49"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0"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1"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2"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3"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4"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5"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6"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57"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8" name="Subtitle 2"/>
          <p:cNvSpPr>
            <a:spLocks noGrp="1"/>
          </p:cNvSpPr>
          <p:nvPr>
            <p:ph type="subTitle" idx="13"/>
          </p:nvPr>
        </p:nvSpPr>
        <p:spPr bwMode="gray">
          <a:xfrm>
            <a:off x="1647970"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37" y="181938"/>
            <a:ext cx="7041600" cy="864000"/>
          </a:xfrm>
        </p:spPr>
        <p:txBody>
          <a:bodyPr/>
          <a:lstStyle/>
          <a:p>
            <a:r>
              <a:rPr lang="de-DE" dirty="0"/>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
        <p:nvSpPr>
          <p:cNvPr id="58"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33" name="Content Placeholder 3"/>
          <p:cNvSpPr>
            <a:spLocks noGrp="1"/>
          </p:cNvSpPr>
          <p:nvPr>
            <p:ph sz="quarter" idx="19"/>
          </p:nvPr>
        </p:nvSpPr>
        <p:spPr>
          <a:xfrm>
            <a:off x="1627187" y="2428876"/>
            <a:ext cx="5643111" cy="1880732"/>
          </a:xfrm>
          <a:prstGeom prst="rect">
            <a:avLst/>
          </a:prstGeom>
        </p:spPr>
        <p:txBody>
          <a:bodyPr/>
          <a:lstStyle>
            <a:lvl1pPr marL="0" indent="0">
              <a:buNone/>
              <a:defRPr sz="1200">
                <a:solidFill>
                  <a:srgbClr val="104862"/>
                </a:solidFill>
              </a:defRPr>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text style</a:t>
            </a:r>
          </a:p>
        </p:txBody>
      </p:sp>
      <p:sp>
        <p:nvSpPr>
          <p:cNvPr id="62" name="Picture Placeholder 23"/>
          <p:cNvSpPr>
            <a:spLocks noGrp="1"/>
          </p:cNvSpPr>
          <p:nvPr>
            <p:ph type="pic" sz="quarter" idx="20"/>
          </p:nvPr>
        </p:nvSpPr>
        <p:spPr>
          <a:xfrm>
            <a:off x="1627192"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63" name="Picture Placeholder 23"/>
          <p:cNvSpPr>
            <a:spLocks noGrp="1"/>
          </p:cNvSpPr>
          <p:nvPr>
            <p:ph type="pic" sz="quarter" idx="22"/>
          </p:nvPr>
        </p:nvSpPr>
        <p:spPr>
          <a:xfrm>
            <a:off x="5539928"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64" name="Picture Placeholder 23"/>
          <p:cNvSpPr>
            <a:spLocks noGrp="1"/>
          </p:cNvSpPr>
          <p:nvPr>
            <p:ph type="pic" sz="quarter" idx="23"/>
          </p:nvPr>
        </p:nvSpPr>
        <p:spPr>
          <a:xfrm>
            <a:off x="3583560"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Tree>
    <p:extLst>
      <p:ext uri="{BB962C8B-B14F-4D97-AF65-F5344CB8AC3E}">
        <p14:creationId xmlns:p14="http://schemas.microsoft.com/office/powerpoint/2010/main" val="40805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xt_3_with_picture">
    <p:spTree>
      <p:nvGrpSpPr>
        <p:cNvPr id="1" name=""/>
        <p:cNvGrpSpPr/>
        <p:nvPr/>
      </p:nvGrpSpPr>
      <p:grpSpPr>
        <a:xfrm>
          <a:off x="0" y="0"/>
          <a:ext cx="0" cy="0"/>
          <a:chOff x="0" y="0"/>
          <a:chExt cx="0" cy="0"/>
        </a:xfrm>
      </p:grpSpPr>
      <p:sp>
        <p:nvSpPr>
          <p:cNvPr id="33" name="Rechteck 41"/>
          <p:cNvSpPr/>
          <p:nvPr userDrawn="1"/>
        </p:nvSpPr>
        <p:spPr bwMode="gray">
          <a:xfrm>
            <a:off x="-3226" y="-6350"/>
            <a:ext cx="1260526" cy="6864350"/>
          </a:xfrm>
          <a:custGeom>
            <a:avLst/>
            <a:gdLst>
              <a:gd name="connsiteX0" fmla="*/ 0 w 1260526"/>
              <a:gd name="connsiteY0" fmla="*/ 0 h 6864350"/>
              <a:gd name="connsiteX1" fmla="*/ 1260526 w 1260526"/>
              <a:gd name="connsiteY1" fmla="*/ 0 h 6864350"/>
              <a:gd name="connsiteX2" fmla="*/ 1260526 w 1260526"/>
              <a:gd name="connsiteY2" fmla="*/ 68643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263576 w 1260526"/>
              <a:gd name="connsiteY2" fmla="*/ 68135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130226 w 1260526"/>
              <a:gd name="connsiteY2" fmla="*/ 662940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54026 w 1260526"/>
              <a:gd name="connsiteY2" fmla="*/ 6153150 h 6864350"/>
              <a:gd name="connsiteX3" fmla="*/ 0 w 1260526"/>
              <a:gd name="connsiteY3" fmla="*/ 6864350 h 6864350"/>
              <a:gd name="connsiteX4" fmla="*/ 0 w 1260526"/>
              <a:gd name="connsiteY4" fmla="*/ 0 h 6864350"/>
              <a:gd name="connsiteX0" fmla="*/ 0 w 1260526"/>
              <a:gd name="connsiteY0" fmla="*/ 0 h 6864350"/>
              <a:gd name="connsiteX1" fmla="*/ 1260526 w 1260526"/>
              <a:gd name="connsiteY1" fmla="*/ 0 h 6864350"/>
              <a:gd name="connsiteX2" fmla="*/ 34976 w 1260526"/>
              <a:gd name="connsiteY2" fmla="*/ 6862763 h 6864350"/>
              <a:gd name="connsiteX3" fmla="*/ 0 w 1260526"/>
              <a:gd name="connsiteY3" fmla="*/ 6864350 h 6864350"/>
              <a:gd name="connsiteX4" fmla="*/ 0 w 1260526"/>
              <a:gd name="connsiteY4" fmla="*/ 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526" h="6864350">
                <a:moveTo>
                  <a:pt x="0" y="0"/>
                </a:moveTo>
                <a:lnTo>
                  <a:pt x="1260526" y="0"/>
                </a:lnTo>
                <a:lnTo>
                  <a:pt x="34976" y="6862763"/>
                </a:lnTo>
                <a:lnTo>
                  <a:pt x="0" y="6864350"/>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grpSp>
        <p:nvGrpSpPr>
          <p:cNvPr id="34" name="Gruppieren 33"/>
          <p:cNvGrpSpPr/>
          <p:nvPr userDrawn="1"/>
        </p:nvGrpSpPr>
        <p:grpSpPr>
          <a:xfrm>
            <a:off x="-14837" y="2531937"/>
            <a:ext cx="1333184" cy="2800848"/>
            <a:chOff x="-14839" y="2531937"/>
            <a:chExt cx="1333184" cy="2800848"/>
          </a:xfrm>
        </p:grpSpPr>
        <p:sp>
          <p:nvSpPr>
            <p:cNvPr id="35" name="Freeform 7"/>
            <p:cNvSpPr>
              <a:spLocks/>
            </p:cNvSpPr>
            <p:nvPr userDrawn="1"/>
          </p:nvSpPr>
          <p:spPr bwMode="auto">
            <a:xfrm>
              <a:off x="22603" y="3629739"/>
              <a:ext cx="1153100" cy="1688699"/>
            </a:xfrm>
            <a:custGeom>
              <a:avLst/>
              <a:gdLst>
                <a:gd name="T0" fmla="*/ 19 w 824"/>
                <a:gd name="T1" fmla="*/ 1207 h 1207"/>
                <a:gd name="T2" fmla="*/ 0 w 824"/>
                <a:gd name="T3" fmla="*/ 1206 h 1207"/>
                <a:gd name="T4" fmla="*/ 289 w 824"/>
                <a:gd name="T5" fmla="*/ 829 h 1207"/>
                <a:gd name="T6" fmla="*/ 289 w 824"/>
                <a:gd name="T7" fmla="*/ 754 h 1207"/>
                <a:gd name="T8" fmla="*/ 287 w 824"/>
                <a:gd name="T9" fmla="*/ 740 h 1207"/>
                <a:gd name="T10" fmla="*/ 265 w 824"/>
                <a:gd name="T11" fmla="*/ 734 h 1207"/>
                <a:gd name="T12" fmla="*/ 153 w 824"/>
                <a:gd name="T13" fmla="*/ 735 h 1207"/>
                <a:gd name="T14" fmla="*/ 121 w 824"/>
                <a:gd name="T15" fmla="*/ 725 h 1207"/>
                <a:gd name="T16" fmla="*/ 113 w 824"/>
                <a:gd name="T17" fmla="*/ 696 h 1207"/>
                <a:gd name="T18" fmla="*/ 113 w 824"/>
                <a:gd name="T19" fmla="*/ 566 h 1207"/>
                <a:gd name="T20" fmla="*/ 109 w 824"/>
                <a:gd name="T21" fmla="*/ 547 h 1207"/>
                <a:gd name="T22" fmla="*/ 87 w 824"/>
                <a:gd name="T23" fmla="*/ 544 h 1207"/>
                <a:gd name="T24" fmla="*/ 49 w 824"/>
                <a:gd name="T25" fmla="*/ 533 h 1207"/>
                <a:gd name="T26" fmla="*/ 54 w 824"/>
                <a:gd name="T27" fmla="*/ 484 h 1207"/>
                <a:gd name="T28" fmla="*/ 109 w 824"/>
                <a:gd name="T29" fmla="*/ 394 h 1207"/>
                <a:gd name="T30" fmla="*/ 125 w 824"/>
                <a:gd name="T31" fmla="*/ 363 h 1207"/>
                <a:gd name="T32" fmla="*/ 130 w 824"/>
                <a:gd name="T33" fmla="*/ 334 h 1207"/>
                <a:gd name="T34" fmla="*/ 131 w 824"/>
                <a:gd name="T35" fmla="*/ 326 h 1207"/>
                <a:gd name="T36" fmla="*/ 359 w 824"/>
                <a:gd name="T37" fmla="*/ 42 h 1207"/>
                <a:gd name="T38" fmla="*/ 714 w 824"/>
                <a:gd name="T39" fmla="*/ 128 h 1207"/>
                <a:gd name="T40" fmla="*/ 805 w 824"/>
                <a:gd name="T41" fmla="*/ 344 h 1207"/>
                <a:gd name="T42" fmla="*/ 723 w 824"/>
                <a:gd name="T43" fmla="*/ 586 h 1207"/>
                <a:gd name="T44" fmla="*/ 710 w 824"/>
                <a:gd name="T45" fmla="*/ 601 h 1207"/>
                <a:gd name="T46" fmla="*/ 686 w 824"/>
                <a:gd name="T47" fmla="*/ 632 h 1207"/>
                <a:gd name="T48" fmla="*/ 680 w 824"/>
                <a:gd name="T49" fmla="*/ 717 h 1207"/>
                <a:gd name="T50" fmla="*/ 711 w 824"/>
                <a:gd name="T51" fmla="*/ 834 h 1207"/>
                <a:gd name="T52" fmla="*/ 692 w 824"/>
                <a:gd name="T53" fmla="*/ 839 h 1207"/>
                <a:gd name="T54" fmla="*/ 661 w 824"/>
                <a:gd name="T55" fmla="*/ 722 h 1207"/>
                <a:gd name="T56" fmla="*/ 668 w 824"/>
                <a:gd name="T57" fmla="*/ 623 h 1207"/>
                <a:gd name="T58" fmla="*/ 695 w 824"/>
                <a:gd name="T59" fmla="*/ 588 h 1207"/>
                <a:gd name="T60" fmla="*/ 708 w 824"/>
                <a:gd name="T61" fmla="*/ 573 h 1207"/>
                <a:gd name="T62" fmla="*/ 700 w 824"/>
                <a:gd name="T63" fmla="*/ 142 h 1207"/>
                <a:gd name="T64" fmla="*/ 366 w 824"/>
                <a:gd name="T65" fmla="*/ 60 h 1207"/>
                <a:gd name="T66" fmla="*/ 151 w 824"/>
                <a:gd name="T67" fmla="*/ 328 h 1207"/>
                <a:gd name="T68" fmla="*/ 150 w 824"/>
                <a:gd name="T69" fmla="*/ 336 h 1207"/>
                <a:gd name="T70" fmla="*/ 144 w 824"/>
                <a:gd name="T71" fmla="*/ 369 h 1207"/>
                <a:gd name="T72" fmla="*/ 126 w 824"/>
                <a:gd name="T73" fmla="*/ 405 h 1207"/>
                <a:gd name="T74" fmla="*/ 71 w 824"/>
                <a:gd name="T75" fmla="*/ 495 h 1207"/>
                <a:gd name="T76" fmla="*/ 64 w 824"/>
                <a:gd name="T77" fmla="*/ 520 h 1207"/>
                <a:gd name="T78" fmla="*/ 86 w 824"/>
                <a:gd name="T79" fmla="*/ 524 h 1207"/>
                <a:gd name="T80" fmla="*/ 123 w 824"/>
                <a:gd name="T81" fmla="*/ 532 h 1207"/>
                <a:gd name="T82" fmla="*/ 133 w 824"/>
                <a:gd name="T83" fmla="*/ 566 h 1207"/>
                <a:gd name="T84" fmla="*/ 132 w 824"/>
                <a:gd name="T85" fmla="*/ 696 h 1207"/>
                <a:gd name="T86" fmla="*/ 136 w 824"/>
                <a:gd name="T87" fmla="*/ 712 h 1207"/>
                <a:gd name="T88" fmla="*/ 153 w 824"/>
                <a:gd name="T89" fmla="*/ 715 h 1207"/>
                <a:gd name="T90" fmla="*/ 265 w 824"/>
                <a:gd name="T91" fmla="*/ 715 h 1207"/>
                <a:gd name="T92" fmla="*/ 303 w 824"/>
                <a:gd name="T93" fmla="*/ 729 h 1207"/>
                <a:gd name="T94" fmla="*/ 309 w 824"/>
                <a:gd name="T95" fmla="*/ 754 h 1207"/>
                <a:gd name="T96" fmla="*/ 309 w 824"/>
                <a:gd name="T97" fmla="*/ 838 h 1207"/>
                <a:gd name="T98" fmla="*/ 305 w 824"/>
                <a:gd name="T99" fmla="*/ 841 h 1207"/>
                <a:gd name="T100" fmla="*/ 19 w 824"/>
                <a:gd name="T101"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4" h="1207">
                  <a:moveTo>
                    <a:pt x="19" y="1207"/>
                  </a:moveTo>
                  <a:cubicBezTo>
                    <a:pt x="0" y="1206"/>
                    <a:pt x="0" y="1206"/>
                    <a:pt x="0" y="1206"/>
                  </a:cubicBezTo>
                  <a:cubicBezTo>
                    <a:pt x="7" y="1074"/>
                    <a:pt x="255" y="858"/>
                    <a:pt x="289" y="829"/>
                  </a:cubicBezTo>
                  <a:cubicBezTo>
                    <a:pt x="289" y="754"/>
                    <a:pt x="289" y="754"/>
                    <a:pt x="289" y="754"/>
                  </a:cubicBezTo>
                  <a:cubicBezTo>
                    <a:pt x="289" y="748"/>
                    <a:pt x="289" y="743"/>
                    <a:pt x="287" y="740"/>
                  </a:cubicBezTo>
                  <a:cubicBezTo>
                    <a:pt x="283" y="735"/>
                    <a:pt x="274" y="734"/>
                    <a:pt x="265" y="734"/>
                  </a:cubicBezTo>
                  <a:cubicBezTo>
                    <a:pt x="153" y="735"/>
                    <a:pt x="153" y="735"/>
                    <a:pt x="153" y="735"/>
                  </a:cubicBezTo>
                  <a:cubicBezTo>
                    <a:pt x="145" y="735"/>
                    <a:pt x="130" y="735"/>
                    <a:pt x="121" y="725"/>
                  </a:cubicBezTo>
                  <a:cubicBezTo>
                    <a:pt x="113" y="716"/>
                    <a:pt x="113" y="703"/>
                    <a:pt x="113" y="696"/>
                  </a:cubicBezTo>
                  <a:cubicBezTo>
                    <a:pt x="113" y="566"/>
                    <a:pt x="113" y="566"/>
                    <a:pt x="113" y="566"/>
                  </a:cubicBezTo>
                  <a:cubicBezTo>
                    <a:pt x="113" y="558"/>
                    <a:pt x="113" y="550"/>
                    <a:pt x="109" y="547"/>
                  </a:cubicBezTo>
                  <a:cubicBezTo>
                    <a:pt x="105" y="543"/>
                    <a:pt x="96" y="543"/>
                    <a:pt x="87" y="544"/>
                  </a:cubicBezTo>
                  <a:cubicBezTo>
                    <a:pt x="74" y="544"/>
                    <a:pt x="59" y="545"/>
                    <a:pt x="49" y="533"/>
                  </a:cubicBezTo>
                  <a:cubicBezTo>
                    <a:pt x="40" y="521"/>
                    <a:pt x="41" y="505"/>
                    <a:pt x="54" y="484"/>
                  </a:cubicBezTo>
                  <a:cubicBezTo>
                    <a:pt x="109" y="394"/>
                    <a:pt x="109" y="394"/>
                    <a:pt x="109" y="394"/>
                  </a:cubicBezTo>
                  <a:cubicBezTo>
                    <a:pt x="116" y="384"/>
                    <a:pt x="122" y="374"/>
                    <a:pt x="125" y="363"/>
                  </a:cubicBezTo>
                  <a:cubicBezTo>
                    <a:pt x="128" y="354"/>
                    <a:pt x="129" y="344"/>
                    <a:pt x="130" y="334"/>
                  </a:cubicBezTo>
                  <a:cubicBezTo>
                    <a:pt x="131" y="331"/>
                    <a:pt x="131" y="329"/>
                    <a:pt x="131" y="326"/>
                  </a:cubicBezTo>
                  <a:cubicBezTo>
                    <a:pt x="145" y="198"/>
                    <a:pt x="237" y="83"/>
                    <a:pt x="359" y="42"/>
                  </a:cubicBezTo>
                  <a:cubicBezTo>
                    <a:pt x="481" y="0"/>
                    <a:pt x="620" y="34"/>
                    <a:pt x="714" y="128"/>
                  </a:cubicBezTo>
                  <a:cubicBezTo>
                    <a:pt x="767" y="182"/>
                    <a:pt x="800" y="260"/>
                    <a:pt x="805" y="344"/>
                  </a:cubicBezTo>
                  <a:cubicBezTo>
                    <a:pt x="809" y="433"/>
                    <a:pt x="780" y="519"/>
                    <a:pt x="723" y="586"/>
                  </a:cubicBezTo>
                  <a:cubicBezTo>
                    <a:pt x="718" y="591"/>
                    <a:pt x="714" y="596"/>
                    <a:pt x="710" y="601"/>
                  </a:cubicBezTo>
                  <a:cubicBezTo>
                    <a:pt x="700" y="612"/>
                    <a:pt x="692" y="620"/>
                    <a:pt x="686" y="632"/>
                  </a:cubicBezTo>
                  <a:cubicBezTo>
                    <a:pt x="674" y="655"/>
                    <a:pt x="672" y="684"/>
                    <a:pt x="680" y="717"/>
                  </a:cubicBezTo>
                  <a:cubicBezTo>
                    <a:pt x="711" y="834"/>
                    <a:pt x="711" y="834"/>
                    <a:pt x="711" y="834"/>
                  </a:cubicBezTo>
                  <a:cubicBezTo>
                    <a:pt x="692" y="839"/>
                    <a:pt x="692" y="839"/>
                    <a:pt x="692" y="839"/>
                  </a:cubicBezTo>
                  <a:cubicBezTo>
                    <a:pt x="661" y="722"/>
                    <a:pt x="661" y="722"/>
                    <a:pt x="661" y="722"/>
                  </a:cubicBezTo>
                  <a:cubicBezTo>
                    <a:pt x="651" y="684"/>
                    <a:pt x="654" y="650"/>
                    <a:pt x="668" y="623"/>
                  </a:cubicBezTo>
                  <a:cubicBezTo>
                    <a:pt x="676" y="609"/>
                    <a:pt x="685" y="599"/>
                    <a:pt x="695" y="588"/>
                  </a:cubicBezTo>
                  <a:cubicBezTo>
                    <a:pt x="699" y="583"/>
                    <a:pt x="703" y="578"/>
                    <a:pt x="708" y="573"/>
                  </a:cubicBezTo>
                  <a:cubicBezTo>
                    <a:pt x="824" y="437"/>
                    <a:pt x="798" y="240"/>
                    <a:pt x="700" y="142"/>
                  </a:cubicBezTo>
                  <a:cubicBezTo>
                    <a:pt x="612" y="54"/>
                    <a:pt x="480" y="21"/>
                    <a:pt x="366" y="60"/>
                  </a:cubicBezTo>
                  <a:cubicBezTo>
                    <a:pt x="252" y="99"/>
                    <a:pt x="164" y="209"/>
                    <a:pt x="151" y="328"/>
                  </a:cubicBezTo>
                  <a:cubicBezTo>
                    <a:pt x="151" y="331"/>
                    <a:pt x="150" y="333"/>
                    <a:pt x="150" y="336"/>
                  </a:cubicBezTo>
                  <a:cubicBezTo>
                    <a:pt x="149" y="347"/>
                    <a:pt x="148" y="358"/>
                    <a:pt x="144" y="369"/>
                  </a:cubicBezTo>
                  <a:cubicBezTo>
                    <a:pt x="140" y="383"/>
                    <a:pt x="133" y="394"/>
                    <a:pt x="126" y="405"/>
                  </a:cubicBezTo>
                  <a:cubicBezTo>
                    <a:pt x="71" y="495"/>
                    <a:pt x="71" y="495"/>
                    <a:pt x="71" y="495"/>
                  </a:cubicBezTo>
                  <a:cubicBezTo>
                    <a:pt x="65" y="503"/>
                    <a:pt x="60" y="515"/>
                    <a:pt x="64" y="520"/>
                  </a:cubicBezTo>
                  <a:cubicBezTo>
                    <a:pt x="68" y="525"/>
                    <a:pt x="75" y="524"/>
                    <a:pt x="86" y="524"/>
                  </a:cubicBezTo>
                  <a:cubicBezTo>
                    <a:pt x="98" y="523"/>
                    <a:pt x="112" y="522"/>
                    <a:pt x="123" y="532"/>
                  </a:cubicBezTo>
                  <a:cubicBezTo>
                    <a:pt x="133" y="542"/>
                    <a:pt x="133" y="557"/>
                    <a:pt x="133" y="566"/>
                  </a:cubicBezTo>
                  <a:cubicBezTo>
                    <a:pt x="132" y="696"/>
                    <a:pt x="132" y="696"/>
                    <a:pt x="132" y="696"/>
                  </a:cubicBezTo>
                  <a:cubicBezTo>
                    <a:pt x="132" y="702"/>
                    <a:pt x="133" y="709"/>
                    <a:pt x="136" y="712"/>
                  </a:cubicBezTo>
                  <a:cubicBezTo>
                    <a:pt x="139" y="715"/>
                    <a:pt x="146" y="715"/>
                    <a:pt x="153" y="715"/>
                  </a:cubicBezTo>
                  <a:cubicBezTo>
                    <a:pt x="265" y="715"/>
                    <a:pt x="265" y="715"/>
                    <a:pt x="265" y="715"/>
                  </a:cubicBezTo>
                  <a:cubicBezTo>
                    <a:pt x="274" y="715"/>
                    <a:pt x="293" y="714"/>
                    <a:pt x="303" y="729"/>
                  </a:cubicBezTo>
                  <a:cubicBezTo>
                    <a:pt x="309" y="737"/>
                    <a:pt x="309" y="748"/>
                    <a:pt x="309" y="754"/>
                  </a:cubicBezTo>
                  <a:cubicBezTo>
                    <a:pt x="309" y="838"/>
                    <a:pt x="309" y="838"/>
                    <a:pt x="309" y="838"/>
                  </a:cubicBezTo>
                  <a:cubicBezTo>
                    <a:pt x="305" y="841"/>
                    <a:pt x="305" y="841"/>
                    <a:pt x="305" y="841"/>
                  </a:cubicBezTo>
                  <a:cubicBezTo>
                    <a:pt x="302" y="844"/>
                    <a:pt x="27" y="1077"/>
                    <a:pt x="19" y="1207"/>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59" name="Freeform 15"/>
            <p:cNvSpPr>
              <a:spLocks/>
            </p:cNvSpPr>
            <p:nvPr userDrawn="1"/>
          </p:nvSpPr>
          <p:spPr bwMode="auto">
            <a:xfrm>
              <a:off x="148703" y="2917990"/>
              <a:ext cx="124800" cy="124150"/>
            </a:xfrm>
            <a:custGeom>
              <a:avLst/>
              <a:gdLst>
                <a:gd name="T0" fmla="*/ 30 w 192"/>
                <a:gd name="T1" fmla="*/ 191 h 191"/>
                <a:gd name="T2" fmla="*/ 0 w 192"/>
                <a:gd name="T3" fmla="*/ 161 h 191"/>
                <a:gd name="T4" fmla="*/ 161 w 192"/>
                <a:gd name="T5" fmla="*/ 0 h 191"/>
                <a:gd name="T6" fmla="*/ 192 w 192"/>
                <a:gd name="T7" fmla="*/ 30 h 191"/>
                <a:gd name="T8" fmla="*/ 30 w 192"/>
                <a:gd name="T9" fmla="*/ 191 h 191"/>
              </a:gdLst>
              <a:ahLst/>
              <a:cxnLst>
                <a:cxn ang="0">
                  <a:pos x="T0" y="T1"/>
                </a:cxn>
                <a:cxn ang="0">
                  <a:pos x="T2" y="T3"/>
                </a:cxn>
                <a:cxn ang="0">
                  <a:pos x="T4" y="T5"/>
                </a:cxn>
                <a:cxn ang="0">
                  <a:pos x="T6" y="T7"/>
                </a:cxn>
                <a:cxn ang="0">
                  <a:pos x="T8" y="T9"/>
                </a:cxn>
              </a:cxnLst>
              <a:rect l="0" t="0" r="r" b="b"/>
              <a:pathLst>
                <a:path w="192" h="191">
                  <a:moveTo>
                    <a:pt x="30" y="191"/>
                  </a:moveTo>
                  <a:lnTo>
                    <a:pt x="0" y="161"/>
                  </a:lnTo>
                  <a:lnTo>
                    <a:pt x="161" y="0"/>
                  </a:lnTo>
                  <a:lnTo>
                    <a:pt x="192" y="30"/>
                  </a:lnTo>
                  <a:lnTo>
                    <a:pt x="30" y="19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0" name="Rectangle 16"/>
            <p:cNvSpPr>
              <a:spLocks noChangeArrowheads="1"/>
            </p:cNvSpPr>
            <p:nvPr userDrawn="1"/>
          </p:nvSpPr>
          <p:spPr bwMode="auto">
            <a:xfrm>
              <a:off x="257903" y="3257939"/>
              <a:ext cx="148200" cy="2795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1" name="Freeform 17"/>
            <p:cNvSpPr>
              <a:spLocks/>
            </p:cNvSpPr>
            <p:nvPr userDrawn="1"/>
          </p:nvSpPr>
          <p:spPr bwMode="auto">
            <a:xfrm>
              <a:off x="148703" y="3502339"/>
              <a:ext cx="124800" cy="124800"/>
            </a:xfrm>
            <a:custGeom>
              <a:avLst/>
              <a:gdLst>
                <a:gd name="T0" fmla="*/ 161 w 192"/>
                <a:gd name="T1" fmla="*/ 192 h 192"/>
                <a:gd name="T2" fmla="*/ 0 w 192"/>
                <a:gd name="T3" fmla="*/ 30 h 192"/>
                <a:gd name="T4" fmla="*/ 30 w 192"/>
                <a:gd name="T5" fmla="*/ 0 h 192"/>
                <a:gd name="T6" fmla="*/ 192 w 192"/>
                <a:gd name="T7" fmla="*/ 162 h 192"/>
                <a:gd name="T8" fmla="*/ 161 w 192"/>
                <a:gd name="T9" fmla="*/ 192 h 192"/>
              </a:gdLst>
              <a:ahLst/>
              <a:cxnLst>
                <a:cxn ang="0">
                  <a:pos x="T0" y="T1"/>
                </a:cxn>
                <a:cxn ang="0">
                  <a:pos x="T2" y="T3"/>
                </a:cxn>
                <a:cxn ang="0">
                  <a:pos x="T4" y="T5"/>
                </a:cxn>
                <a:cxn ang="0">
                  <a:pos x="T6" y="T7"/>
                </a:cxn>
                <a:cxn ang="0">
                  <a:pos x="T8" y="T9"/>
                </a:cxn>
              </a:cxnLst>
              <a:rect l="0" t="0" r="r" b="b"/>
              <a:pathLst>
                <a:path w="192" h="192">
                  <a:moveTo>
                    <a:pt x="161" y="192"/>
                  </a:moveTo>
                  <a:lnTo>
                    <a:pt x="0" y="30"/>
                  </a:lnTo>
                  <a:lnTo>
                    <a:pt x="30" y="0"/>
                  </a:lnTo>
                  <a:lnTo>
                    <a:pt x="192" y="162"/>
                  </a:lnTo>
                  <a:lnTo>
                    <a:pt x="161" y="19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2" name="Rechteck 103"/>
            <p:cNvSpPr/>
            <p:nvPr userDrawn="1"/>
          </p:nvSpPr>
          <p:spPr bwMode="gray">
            <a:xfrm>
              <a:off x="-3225" y="3757817"/>
              <a:ext cx="42729" cy="28800"/>
            </a:xfrm>
            <a:custGeom>
              <a:avLst/>
              <a:gdLst/>
              <a:ahLst/>
              <a:cxnLst/>
              <a:rect l="l" t="t" r="r" b="b"/>
              <a:pathLst>
                <a:path w="42729" h="28800">
                  <a:moveTo>
                    <a:pt x="0" y="0"/>
                  </a:moveTo>
                  <a:lnTo>
                    <a:pt x="42729" y="0"/>
                  </a:lnTo>
                  <a:lnTo>
                    <a:pt x="42729" y="28800"/>
                  </a:lnTo>
                  <a:lnTo>
                    <a:pt x="0" y="28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sp>
          <p:nvSpPr>
            <p:cNvPr id="63" name="Ellipse 105"/>
            <p:cNvSpPr>
              <a:spLocks noChangeAspect="1"/>
            </p:cNvSpPr>
            <p:nvPr userDrawn="1"/>
          </p:nvSpPr>
          <p:spPr bwMode="gray">
            <a:xfrm>
              <a:off x="-14839" y="2531937"/>
              <a:ext cx="1333184" cy="2800848"/>
            </a:xfrm>
            <a:custGeom>
              <a:avLst/>
              <a:gdLst/>
              <a:ahLst/>
              <a:cxnLst/>
              <a:rect l="l" t="t" r="r" b="b"/>
              <a:pathLst>
                <a:path w="1333184" h="2800848">
                  <a:moveTo>
                    <a:pt x="0" y="0"/>
                  </a:moveTo>
                  <a:cubicBezTo>
                    <a:pt x="742553" y="35114"/>
                    <a:pt x="1333184" y="648794"/>
                    <a:pt x="1333184" y="1400424"/>
                  </a:cubicBezTo>
                  <a:cubicBezTo>
                    <a:pt x="1333184" y="2152054"/>
                    <a:pt x="742553" y="2765734"/>
                    <a:pt x="0" y="2800848"/>
                  </a:cubicBezTo>
                  <a:lnTo>
                    <a:pt x="0" y="2771942"/>
                  </a:lnTo>
                  <a:cubicBezTo>
                    <a:pt x="726582" y="2736820"/>
                    <a:pt x="1304279" y="2136086"/>
                    <a:pt x="1304279" y="1400423"/>
                  </a:cubicBezTo>
                  <a:cubicBezTo>
                    <a:pt x="1304279" y="664761"/>
                    <a:pt x="726582" y="64027"/>
                    <a:pt x="0" y="2890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8"/>
              <a:endParaRPr lang="en-US">
                <a:solidFill>
                  <a:srgbClr val="FFFFFF"/>
                </a:solidFill>
              </a:endParaRPr>
            </a:p>
          </p:txBody>
        </p:sp>
        <p:grpSp>
          <p:nvGrpSpPr>
            <p:cNvPr id="64" name="Group 4"/>
            <p:cNvGrpSpPr>
              <a:grpSpLocks noChangeAspect="1"/>
            </p:cNvGrpSpPr>
            <p:nvPr userDrawn="1"/>
          </p:nvGrpSpPr>
          <p:grpSpPr bwMode="auto">
            <a:xfrm>
              <a:off x="-5461" y="2981335"/>
              <a:ext cx="234110" cy="732254"/>
              <a:chOff x="3641" y="1534"/>
              <a:chExt cx="399" cy="1248"/>
            </a:xfrm>
            <a:solidFill>
              <a:schemeClr val="accent5"/>
            </a:solidFill>
          </p:grpSpPr>
          <p:sp>
            <p:nvSpPr>
              <p:cNvPr id="65" name="Freeform 5"/>
              <p:cNvSpPr>
                <a:spLocks/>
              </p:cNvSpPr>
              <p:nvPr/>
            </p:nvSpPr>
            <p:spPr bwMode="auto">
              <a:xfrm>
                <a:off x="3641" y="1681"/>
                <a:ext cx="255" cy="349"/>
              </a:xfrm>
              <a:custGeom>
                <a:avLst/>
                <a:gdLst>
                  <a:gd name="T0" fmla="*/ 0 w 106"/>
                  <a:gd name="T1" fmla="*/ 0 h 147"/>
                  <a:gd name="T2" fmla="*/ 0 w 106"/>
                  <a:gd name="T3" fmla="*/ 21 h 147"/>
                  <a:gd name="T4" fmla="*/ 86 w 106"/>
                  <a:gd name="T5" fmla="*/ 147 h 147"/>
                  <a:gd name="T6" fmla="*/ 106 w 106"/>
                  <a:gd name="T7" fmla="*/ 147 h 147"/>
                  <a:gd name="T8" fmla="*/ 0 w 106"/>
                  <a:gd name="T9" fmla="*/ 0 h 147"/>
                </a:gdLst>
                <a:ahLst/>
                <a:cxnLst>
                  <a:cxn ang="0">
                    <a:pos x="T0" y="T1"/>
                  </a:cxn>
                  <a:cxn ang="0">
                    <a:pos x="T2" y="T3"/>
                  </a:cxn>
                  <a:cxn ang="0">
                    <a:pos x="T4" y="T5"/>
                  </a:cxn>
                  <a:cxn ang="0">
                    <a:pos x="T6" y="T7"/>
                  </a:cxn>
                  <a:cxn ang="0">
                    <a:pos x="T8" y="T9"/>
                  </a:cxn>
                </a:cxnLst>
                <a:rect l="0" t="0" r="r" b="b"/>
                <a:pathLst>
                  <a:path w="106" h="147">
                    <a:moveTo>
                      <a:pt x="0" y="0"/>
                    </a:moveTo>
                    <a:cubicBezTo>
                      <a:pt x="0" y="21"/>
                      <a:pt x="0" y="21"/>
                      <a:pt x="0" y="21"/>
                    </a:cubicBezTo>
                    <a:cubicBezTo>
                      <a:pt x="50" y="41"/>
                      <a:pt x="86" y="90"/>
                      <a:pt x="86" y="147"/>
                    </a:cubicBezTo>
                    <a:cubicBezTo>
                      <a:pt x="106" y="147"/>
                      <a:pt x="106" y="147"/>
                      <a:pt x="106" y="147"/>
                    </a:cubicBezTo>
                    <a:cubicBezTo>
                      <a:pt x="106" y="79"/>
                      <a:pt x="61" y="2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sp>
            <p:nvSpPr>
              <p:cNvPr id="66" name="Freeform 6"/>
              <p:cNvSpPr>
                <a:spLocks/>
              </p:cNvSpPr>
              <p:nvPr/>
            </p:nvSpPr>
            <p:spPr bwMode="auto">
              <a:xfrm>
                <a:off x="3641" y="1534"/>
                <a:ext cx="399" cy="1248"/>
              </a:xfrm>
              <a:custGeom>
                <a:avLst/>
                <a:gdLst>
                  <a:gd name="T0" fmla="*/ 0 w 166"/>
                  <a:gd name="T1" fmla="*/ 0 h 525"/>
                  <a:gd name="T2" fmla="*/ 0 w 166"/>
                  <a:gd name="T3" fmla="*/ 20 h 525"/>
                  <a:gd name="T4" fmla="*/ 146 w 166"/>
                  <a:gd name="T5" fmla="*/ 209 h 525"/>
                  <a:gd name="T6" fmla="*/ 98 w 166"/>
                  <a:gd name="T7" fmla="*/ 337 h 525"/>
                  <a:gd name="T8" fmla="*/ 44 w 166"/>
                  <a:gd name="T9" fmla="*/ 499 h 525"/>
                  <a:gd name="T10" fmla="*/ 38 w 166"/>
                  <a:gd name="T11" fmla="*/ 505 h 525"/>
                  <a:gd name="T12" fmla="*/ 0 w 166"/>
                  <a:gd name="T13" fmla="*/ 505 h 525"/>
                  <a:gd name="T14" fmla="*/ 0 w 166"/>
                  <a:gd name="T15" fmla="*/ 525 h 525"/>
                  <a:gd name="T16" fmla="*/ 38 w 166"/>
                  <a:gd name="T17" fmla="*/ 525 h 525"/>
                  <a:gd name="T18" fmla="*/ 64 w 166"/>
                  <a:gd name="T19" fmla="*/ 499 h 525"/>
                  <a:gd name="T20" fmla="*/ 113 w 166"/>
                  <a:gd name="T21" fmla="*/ 351 h 525"/>
                  <a:gd name="T22" fmla="*/ 166 w 166"/>
                  <a:gd name="T23" fmla="*/ 209 h 525"/>
                  <a:gd name="T24" fmla="*/ 0 w 166"/>
                  <a:gd name="T25"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6" h="525">
                    <a:moveTo>
                      <a:pt x="0" y="0"/>
                    </a:moveTo>
                    <a:cubicBezTo>
                      <a:pt x="0" y="20"/>
                      <a:pt x="0" y="20"/>
                      <a:pt x="0" y="20"/>
                    </a:cubicBezTo>
                    <a:cubicBezTo>
                      <a:pt x="84" y="42"/>
                      <a:pt x="146" y="119"/>
                      <a:pt x="146" y="209"/>
                    </a:cubicBezTo>
                    <a:cubicBezTo>
                      <a:pt x="146" y="257"/>
                      <a:pt x="129" y="302"/>
                      <a:pt x="98" y="337"/>
                    </a:cubicBezTo>
                    <a:cubicBezTo>
                      <a:pt x="96" y="340"/>
                      <a:pt x="44" y="397"/>
                      <a:pt x="44" y="499"/>
                    </a:cubicBezTo>
                    <a:cubicBezTo>
                      <a:pt x="44" y="503"/>
                      <a:pt x="42" y="505"/>
                      <a:pt x="38" y="505"/>
                    </a:cubicBezTo>
                    <a:cubicBezTo>
                      <a:pt x="0" y="505"/>
                      <a:pt x="0" y="505"/>
                      <a:pt x="0" y="505"/>
                    </a:cubicBezTo>
                    <a:cubicBezTo>
                      <a:pt x="0" y="525"/>
                      <a:pt x="0" y="525"/>
                      <a:pt x="0" y="525"/>
                    </a:cubicBezTo>
                    <a:cubicBezTo>
                      <a:pt x="38" y="525"/>
                      <a:pt x="38" y="525"/>
                      <a:pt x="38" y="525"/>
                    </a:cubicBezTo>
                    <a:cubicBezTo>
                      <a:pt x="53" y="525"/>
                      <a:pt x="64" y="514"/>
                      <a:pt x="64" y="499"/>
                    </a:cubicBezTo>
                    <a:cubicBezTo>
                      <a:pt x="64" y="406"/>
                      <a:pt x="112" y="351"/>
                      <a:pt x="113" y="351"/>
                    </a:cubicBezTo>
                    <a:cubicBezTo>
                      <a:pt x="147" y="311"/>
                      <a:pt x="166" y="261"/>
                      <a:pt x="166" y="209"/>
                    </a:cubicBezTo>
                    <a:cubicBezTo>
                      <a:pt x="166" y="108"/>
                      <a:pt x="95" y="2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8"/>
                <a:endParaRPr lang="en-US">
                  <a:solidFill>
                    <a:srgbClr val="000000"/>
                  </a:solidFill>
                </a:endParaRPr>
              </a:p>
            </p:txBody>
          </p:sp>
        </p:grpSp>
      </p:grpSp>
      <p:grpSp>
        <p:nvGrpSpPr>
          <p:cNvPr id="67" name="Group 219"/>
          <p:cNvGrpSpPr>
            <a:grpSpLocks noChangeAspect="1"/>
          </p:cNvGrpSpPr>
          <p:nvPr userDrawn="1"/>
        </p:nvGrpSpPr>
        <p:grpSpPr bwMode="gray">
          <a:xfrm>
            <a:off x="395324" y="429626"/>
            <a:ext cx="395248" cy="396000"/>
            <a:chOff x="6936" y="180"/>
            <a:chExt cx="526" cy="527"/>
          </a:xfrm>
          <a:solidFill>
            <a:schemeClr val="bg1"/>
          </a:solidFill>
        </p:grpSpPr>
        <p:sp>
          <p:nvSpPr>
            <p:cNvPr id="68"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69"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0"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1"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2"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3"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4"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5"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6"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sp>
          <p:nvSpPr>
            <p:cNvPr id="77"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4"/>
              <a:endParaRPr lang="en-US" dirty="0">
                <a:solidFill>
                  <a:prstClr val="black"/>
                </a:solidFill>
              </a:endParaRPr>
            </a:p>
          </p:txBody>
        </p:sp>
      </p:grpSp>
      <p:sp>
        <p:nvSpPr>
          <p:cNvPr id="24" name="Rechteck 46"/>
          <p:cNvSpPr/>
          <p:nvPr userDrawn="1"/>
        </p:nvSpPr>
        <p:spPr bwMode="gray">
          <a:xfrm>
            <a:off x="4" y="-10045"/>
            <a:ext cx="12190413" cy="6868049"/>
          </a:xfrm>
          <a:custGeom>
            <a:avLst/>
            <a:gdLst/>
            <a:ahLst/>
            <a:cxnLst/>
            <a:rect l="l" t="t" r="r" b="b"/>
            <a:pathLst>
              <a:path w="12190413" h="6868049">
                <a:moveTo>
                  <a:pt x="1260526" y="0"/>
                </a:moveTo>
                <a:lnTo>
                  <a:pt x="12190413" y="0"/>
                </a:lnTo>
                <a:lnTo>
                  <a:pt x="12190413" y="6868049"/>
                </a:lnTo>
                <a:lnTo>
                  <a:pt x="0" y="6868049"/>
                </a:lnTo>
                <a:lnTo>
                  <a:pt x="0" y="6864350"/>
                </a:lnTo>
                <a:lnTo>
                  <a:pt x="34976" y="68627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8" name="Subtitle 2"/>
          <p:cNvSpPr>
            <a:spLocks noGrp="1"/>
          </p:cNvSpPr>
          <p:nvPr>
            <p:ph type="subTitle" idx="13"/>
          </p:nvPr>
        </p:nvSpPr>
        <p:spPr bwMode="gray">
          <a:xfrm>
            <a:off x="1647968" y="1138299"/>
            <a:ext cx="704160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a:xfrm>
            <a:off x="1646238" y="181938"/>
            <a:ext cx="7041600" cy="864000"/>
          </a:xfrm>
        </p:spPr>
        <p:txBody>
          <a:bodyPr/>
          <a:lstStyle/>
          <a:p>
            <a:r>
              <a:rPr lang="de-DE" dirty="0"/>
              <a:t>Titelmasterformat durch Klicken bearbeiten</a:t>
            </a:r>
            <a:endParaRPr lang="en-US" dirty="0"/>
          </a:p>
        </p:txBody>
      </p:sp>
      <p:sp>
        <p:nvSpPr>
          <p:cNvPr id="3" name="Datumsplatzhalter 2"/>
          <p:cNvSpPr>
            <a:spLocks noGrp="1"/>
          </p:cNvSpPr>
          <p:nvPr>
            <p:ph type="dt" sz="half" idx="15"/>
          </p:nvPr>
        </p:nvSpPr>
        <p:spPr/>
        <p:txBody>
          <a:bodyPr/>
          <a:lstStyle/>
          <a:p>
            <a:endParaRPr lang="en-US" dirty="0"/>
          </a:p>
        </p:txBody>
      </p:sp>
      <p:sp>
        <p:nvSpPr>
          <p:cNvPr id="7" name="Fußzeilenplatzhalter 6"/>
          <p:cNvSpPr>
            <a:spLocks noGrp="1"/>
          </p:cNvSpPr>
          <p:nvPr>
            <p:ph type="ftr" sz="quarter" idx="16"/>
          </p:nvPr>
        </p:nvSpPr>
        <p:spPr/>
        <p:txBody>
          <a:bodyPr/>
          <a:lstStyle/>
          <a:p>
            <a:r>
              <a:rPr lang="en-US">
                <a:solidFill>
                  <a:srgbClr val="10384F"/>
                </a:solidFill>
              </a:rPr>
              <a:t>/// Advancing Innovation at Bayer /// May 2019</a:t>
            </a:r>
            <a:endParaRPr lang="en-US" dirty="0">
              <a:solidFill>
                <a:srgbClr val="10384F"/>
              </a:solidFill>
            </a:endParaRPr>
          </a:p>
        </p:txBody>
      </p:sp>
      <p:sp>
        <p:nvSpPr>
          <p:cNvPr id="10" name="Foliennummernplatzhalter 9"/>
          <p:cNvSpPr>
            <a:spLocks noGrp="1"/>
          </p:cNvSpPr>
          <p:nvPr>
            <p:ph type="sldNum" sz="quarter" idx="17"/>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5" name="Bildplatzhalter 4"/>
          <p:cNvSpPr>
            <a:spLocks noGrp="1"/>
          </p:cNvSpPr>
          <p:nvPr>
            <p:ph type="pic" sz="quarter" idx="18" hasCustomPrompt="1"/>
          </p:nvPr>
        </p:nvSpPr>
        <p:spPr bwMode="gray">
          <a:xfrm>
            <a:off x="7909564" y="-9525"/>
            <a:ext cx="4283155" cy="6873240"/>
          </a:xfrm>
          <a:custGeom>
            <a:avLst/>
            <a:gdLst>
              <a:gd name="connsiteX0" fmla="*/ 0 w 4280853"/>
              <a:gd name="connsiteY0" fmla="*/ 6867525 h 6867525"/>
              <a:gd name="connsiteX1" fmla="*/ 1070213 w 4280853"/>
              <a:gd name="connsiteY1" fmla="*/ 0 h 6867525"/>
              <a:gd name="connsiteX2" fmla="*/ 4280853 w 4280853"/>
              <a:gd name="connsiteY2" fmla="*/ 0 h 6867525"/>
              <a:gd name="connsiteX3" fmla="*/ 3210640 w 4280853"/>
              <a:gd name="connsiteY3" fmla="*/ 6867525 h 6867525"/>
              <a:gd name="connsiteX4" fmla="*/ 0 w 4280853"/>
              <a:gd name="connsiteY4" fmla="*/ 6867525 h 6867525"/>
              <a:gd name="connsiteX0" fmla="*/ 0 w 4292680"/>
              <a:gd name="connsiteY0" fmla="*/ 6867525 h 6882765"/>
              <a:gd name="connsiteX1" fmla="*/ 1070213 w 4292680"/>
              <a:gd name="connsiteY1" fmla="*/ 0 h 6882765"/>
              <a:gd name="connsiteX2" fmla="*/ 4280853 w 4292680"/>
              <a:gd name="connsiteY2" fmla="*/ 0 h 6882765"/>
              <a:gd name="connsiteX3" fmla="*/ 4292680 w 4292680"/>
              <a:gd name="connsiteY3" fmla="*/ 6882765 h 6882765"/>
              <a:gd name="connsiteX4" fmla="*/ 0 w 4292680"/>
              <a:gd name="connsiteY4" fmla="*/ 6867525 h 6882765"/>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 name="connsiteX0" fmla="*/ 0 w 4283155"/>
              <a:gd name="connsiteY0" fmla="*/ 6867525 h 6873240"/>
              <a:gd name="connsiteX1" fmla="*/ 1070213 w 4283155"/>
              <a:gd name="connsiteY1" fmla="*/ 0 h 6873240"/>
              <a:gd name="connsiteX2" fmla="*/ 4280853 w 4283155"/>
              <a:gd name="connsiteY2" fmla="*/ 0 h 6873240"/>
              <a:gd name="connsiteX3" fmla="*/ 4283155 w 4283155"/>
              <a:gd name="connsiteY3" fmla="*/ 6873240 h 6873240"/>
              <a:gd name="connsiteX4" fmla="*/ 0 w 4283155"/>
              <a:gd name="connsiteY4" fmla="*/ 6867525 h 687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155" h="6873240">
                <a:moveTo>
                  <a:pt x="0" y="6867525"/>
                </a:moveTo>
                <a:lnTo>
                  <a:pt x="1070213" y="0"/>
                </a:lnTo>
                <a:lnTo>
                  <a:pt x="4280853" y="0"/>
                </a:lnTo>
                <a:cubicBezTo>
                  <a:pt x="4284795" y="2294255"/>
                  <a:pt x="4282004" y="3436620"/>
                  <a:pt x="4283155" y="6873240"/>
                </a:cubicBezTo>
                <a:lnTo>
                  <a:pt x="0" y="6867525"/>
                </a:lnTo>
                <a:close/>
              </a:path>
            </a:pathLst>
          </a:custGeom>
          <a:solidFill>
            <a:schemeClr val="bg1">
              <a:lumMod val="85000"/>
            </a:schemeClr>
          </a:solidFill>
        </p:spPr>
        <p:txBody>
          <a:bodyPr tIns="3671940" anchor="t"/>
          <a:lstStyle>
            <a:lvl1pPr algn="ctr">
              <a:defRPr sz="1400"/>
            </a:lvl1pPr>
          </a:lstStyle>
          <a:p>
            <a:r>
              <a:rPr lang="en-US" dirty="0"/>
              <a:t>Insert picture</a:t>
            </a:r>
          </a:p>
        </p:txBody>
      </p:sp>
      <p:sp>
        <p:nvSpPr>
          <p:cNvPr id="78" name="Rechteck 42"/>
          <p:cNvSpPr/>
          <p:nvPr userDrawn="1"/>
        </p:nvSpPr>
        <p:spPr bwMode="gray">
          <a:xfrm rot="840000">
            <a:off x="700119" y="-96012"/>
            <a:ext cx="15292" cy="5912522"/>
          </a:xfrm>
          <a:custGeom>
            <a:avLst/>
            <a:gdLst/>
            <a:ahLst/>
            <a:cxnLst/>
            <a:rect l="l" t="t" r="r" b="b"/>
            <a:pathLst>
              <a:path w="15292" h="5912522">
                <a:moveTo>
                  <a:pt x="0" y="3812"/>
                </a:moveTo>
                <a:lnTo>
                  <a:pt x="15292" y="0"/>
                </a:lnTo>
                <a:lnTo>
                  <a:pt x="15292" y="5912522"/>
                </a:lnTo>
                <a:lnTo>
                  <a:pt x="0" y="585118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6" rIns="91440" bIns="45716" rtlCol="0" anchor="ctr"/>
          <a:lstStyle/>
          <a:p>
            <a:pPr algn="ctr" defTabSz="914388"/>
            <a:endParaRPr lang="en-US">
              <a:solidFill>
                <a:srgbClr val="FFFFFF"/>
              </a:solidFill>
            </a:endParaRPr>
          </a:p>
        </p:txBody>
      </p:sp>
      <p:sp>
        <p:nvSpPr>
          <p:cNvPr id="36" name="Content Placeholder 3"/>
          <p:cNvSpPr>
            <a:spLocks noGrp="1"/>
          </p:cNvSpPr>
          <p:nvPr>
            <p:ph sz="quarter" idx="19"/>
          </p:nvPr>
        </p:nvSpPr>
        <p:spPr>
          <a:xfrm>
            <a:off x="1627187" y="2428876"/>
            <a:ext cx="5643111" cy="1880732"/>
          </a:xfrm>
          <a:prstGeom prst="rect">
            <a:avLst/>
          </a:prstGeom>
        </p:spPr>
        <p:txBody>
          <a:bodyPr/>
          <a:lstStyle>
            <a:lvl1pPr marL="0" indent="0">
              <a:buNone/>
              <a:defRPr sz="1200">
                <a:solidFill>
                  <a:srgbClr val="104862"/>
                </a:solidFill>
              </a:defRPr>
            </a:lvl1pPr>
            <a:lvl2pPr marL="457192" indent="0">
              <a:buNone/>
              <a:defRPr sz="1000"/>
            </a:lvl2pPr>
            <a:lvl3pPr marL="914388" indent="0">
              <a:buNone/>
              <a:defRPr sz="1000"/>
            </a:lvl3pPr>
            <a:lvl4pPr marL="1371576" indent="0">
              <a:buNone/>
              <a:defRPr sz="1000"/>
            </a:lvl4pPr>
            <a:lvl5pPr marL="1828772" indent="0">
              <a:buNone/>
              <a:defRPr sz="1000"/>
            </a:lvl5pPr>
          </a:lstStyle>
          <a:p>
            <a:pPr lvl="0"/>
            <a:r>
              <a:rPr lang="en-US" dirty="0"/>
              <a:t>Click to edit Master text style</a:t>
            </a:r>
          </a:p>
        </p:txBody>
      </p:sp>
      <p:sp>
        <p:nvSpPr>
          <p:cNvPr id="41" name="Picture Placeholder 23"/>
          <p:cNvSpPr>
            <a:spLocks noGrp="1"/>
          </p:cNvSpPr>
          <p:nvPr>
            <p:ph type="pic" sz="quarter" idx="20"/>
          </p:nvPr>
        </p:nvSpPr>
        <p:spPr>
          <a:xfrm>
            <a:off x="1627192"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42" name="Picture Placeholder 23"/>
          <p:cNvSpPr>
            <a:spLocks noGrp="1"/>
          </p:cNvSpPr>
          <p:nvPr>
            <p:ph type="pic" sz="quarter" idx="22"/>
          </p:nvPr>
        </p:nvSpPr>
        <p:spPr>
          <a:xfrm>
            <a:off x="5539928"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
        <p:nvSpPr>
          <p:cNvPr id="43" name="Picture Placeholder 23"/>
          <p:cNvSpPr>
            <a:spLocks noGrp="1"/>
          </p:cNvSpPr>
          <p:nvPr>
            <p:ph type="pic" sz="quarter" idx="23"/>
          </p:nvPr>
        </p:nvSpPr>
        <p:spPr>
          <a:xfrm>
            <a:off x="3583560" y="4443413"/>
            <a:ext cx="1730375" cy="1471612"/>
          </a:xfrm>
          <a:prstGeom prst="rect">
            <a:avLst/>
          </a:prstGeom>
          <a:solidFill>
            <a:schemeClr val="bg1">
              <a:lumMod val="85000"/>
            </a:schemeClr>
          </a:solidFill>
        </p:spPr>
        <p:txBody>
          <a:bodyPr/>
          <a:lstStyle>
            <a:lvl1pPr marL="0" indent="0">
              <a:buNone/>
              <a:defRPr sz="1200"/>
            </a:lvl1pPr>
          </a:lstStyle>
          <a:p>
            <a:endParaRPr lang="en-US" dirty="0"/>
          </a:p>
        </p:txBody>
      </p:sp>
    </p:spTree>
    <p:extLst>
      <p:ext uri="{BB962C8B-B14F-4D97-AF65-F5344CB8AC3E}">
        <p14:creationId xmlns:p14="http://schemas.microsoft.com/office/powerpoint/2010/main" val="311133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0"/>
          </p:nvPr>
        </p:nvSpPr>
        <p:spPr bwMode="gray"/>
        <p:txBody>
          <a:bodyPr/>
          <a:lstStyle/>
          <a:p>
            <a:fld id="{65797DFA-19C6-40A8-B61B-310C06EA079A}" type="datetime1">
              <a:rPr lang="en-US" smtClean="0"/>
              <a:pPr/>
              <a:t>10/10/2019</a:t>
            </a:fld>
            <a:endParaRPr lang="en-US"/>
          </a:p>
        </p:txBody>
      </p:sp>
      <p:sp>
        <p:nvSpPr>
          <p:cNvPr id="5" name="Footer Placeholder 4"/>
          <p:cNvSpPr>
            <a:spLocks noGrp="1"/>
          </p:cNvSpPr>
          <p:nvPr>
            <p:ph type="ftr" sz="quarter" idx="11"/>
          </p:nvPr>
        </p:nvSpPr>
        <p:spPr bwMode="gray"/>
        <p:txBody>
          <a:bodyPr/>
          <a:lstStyle/>
          <a:p>
            <a:r>
              <a:rPr lang="en-US">
                <a:solidFill>
                  <a:srgbClr val="10384F"/>
                </a:solidFill>
              </a:rPr>
              <a:t>/// /// Advancing Digital - Change Strategy /// November 2018</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a:solidFill>
                <a:srgbClr val="00BCFF"/>
              </a:solidFill>
            </a:endParaRPr>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nas-mainz\Projekte_vertraulich\Bayer\17-0612_Fischer_CI-Redesign\vom Kunden\Bayer_Cross_2017_on-Screen_RGB_170630.wm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799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37" y="1843721"/>
            <a:ext cx="4680000"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3EB53ADF-5111-40B8-BD25-E86AF4ED5048}" type="datetime1">
              <a:rPr lang="en-US" smtClean="0"/>
              <a:t>10/10/2019</a:t>
            </a:fld>
            <a:endParaRPr lang="en-US" dirty="0"/>
          </a:p>
        </p:txBody>
      </p:sp>
      <p:sp>
        <p:nvSpPr>
          <p:cNvPr id="4" name="Footer Placeholder 3"/>
          <p:cNvSpPr>
            <a:spLocks noGrp="1"/>
          </p:cNvSpPr>
          <p:nvPr>
            <p:ph type="ftr" sz="quarter" idx="11"/>
          </p:nvPr>
        </p:nvSpPr>
        <p:spPr bwMode="gray">
          <a:xfrm>
            <a:off x="974672" y="6617933"/>
            <a:ext cx="5710665" cy="108000"/>
          </a:xfrm>
        </p:spPr>
        <p:txBody>
          <a:bodyPr/>
          <a:lstStyle/>
          <a:p>
            <a:r>
              <a:rPr lang="en-US" dirty="0"/>
              <a:t>/// Advancing Digital /// Topic /// Date</a:t>
            </a: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a:t>
            </a:fld>
            <a:endParaRPr lang="en-US" dirty="0"/>
          </a:p>
        </p:txBody>
      </p:sp>
      <p:pic>
        <p:nvPicPr>
          <p:cNvPr id="9" name="Picture 2"/>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gray">
          <a:xfrm>
            <a:off x="701832" y="704850"/>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4236"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6" name="Logoschutz" hidden="1"/>
          <p:cNvSpPr/>
          <p:nvPr userDrawn="1">
            <p:custDataLst>
              <p:tags r:id="rId1"/>
            </p:custDataLst>
          </p:nvPr>
        </p:nvSpPr>
        <p:spPr bwMode="gray">
          <a:xfrm>
            <a:off x="521832" y="524850"/>
            <a:ext cx="1080000"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Logo</a:t>
            </a:r>
          </a:p>
          <a:p>
            <a:pPr algn="ctr"/>
            <a:r>
              <a:rPr lang="de-DE" dirty="0">
                <a:solidFill>
                  <a:schemeClr val="tx1"/>
                </a:solidFill>
              </a:rPr>
              <a:t>Schutz</a:t>
            </a:r>
          </a:p>
        </p:txBody>
      </p:sp>
    </p:spTree>
    <p:extLst>
      <p:ext uri="{BB962C8B-B14F-4D97-AF65-F5344CB8AC3E}">
        <p14:creationId xmlns:p14="http://schemas.microsoft.com/office/powerpoint/2010/main" val="73391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821" y="181938"/>
            <a:ext cx="10798460"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B6DB8775-8226-4E8C-BBBC-5A871E3E17A7}"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dirty="0">
                <a:solidFill>
                  <a:srgbClr val="10384F"/>
                </a:solidFill>
              </a:rPr>
              <a:t>/// Advancing Digital /// Topic /// Dat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rgbClr val="000000"/>
                </a:solidFill>
              </a:rPr>
              <a:t>Logo</a:t>
            </a:r>
          </a:p>
          <a:p>
            <a:pPr algn="ctr"/>
            <a:r>
              <a:rPr lang="de-DE" sz="900" dirty="0">
                <a:solidFill>
                  <a:srgbClr val="000000"/>
                </a:solidFill>
              </a:rPr>
              <a:t>Schutz</a:t>
            </a:r>
          </a:p>
        </p:txBody>
      </p:sp>
    </p:spTree>
    <p:extLst>
      <p:ext uri="{BB962C8B-B14F-4D97-AF65-F5344CB8AC3E}">
        <p14:creationId xmlns:p14="http://schemas.microsoft.com/office/powerpoint/2010/main" val="349266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0D2FE945-3E4C-40F8-BF91-FA7C33C4557F}"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5" y="2424948"/>
            <a:ext cx="3620357" cy="1440000"/>
          </a:xfrm>
        </p:spPr>
        <p:txBody>
          <a:bodyPr anchor="t"/>
          <a:lstStyle>
            <a:lvl1pPr>
              <a:defRPr sz="3200" i="1">
                <a:solidFill>
                  <a:schemeClr val="accent4"/>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FF3162"/>
                </a:solidFill>
              </a:rPr>
              <a:t>///////////</a:t>
            </a:r>
          </a:p>
        </p:txBody>
      </p:sp>
      <p:sp>
        <p:nvSpPr>
          <p:cNvPr id="21" name="Text Placeholder 20"/>
          <p:cNvSpPr>
            <a:spLocks noGrp="1"/>
          </p:cNvSpPr>
          <p:nvPr>
            <p:ph type="body" sz="quarter" idx="13"/>
          </p:nvPr>
        </p:nvSpPr>
        <p:spPr bwMode="black">
          <a:xfrm>
            <a:off x="1414403"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Picture Placeholder 12"/>
          <p:cNvSpPr>
            <a:spLocks noGrp="1"/>
          </p:cNvSpPr>
          <p:nvPr>
            <p:ph type="pic" sz="quarter" idx="14"/>
          </p:nvPr>
        </p:nvSpPr>
        <p:spPr bwMode="gray">
          <a:xfrm>
            <a:off x="4077841"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6"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754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EA685CF9-46B3-4938-8DC5-B5C4EBCCD9A7}"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5" y="2424948"/>
            <a:ext cx="3620357" cy="1440000"/>
          </a:xfrm>
        </p:spPr>
        <p:txBody>
          <a:bodyPr anchor="t"/>
          <a:lstStyle>
            <a:lvl1pPr>
              <a:defRPr sz="3200" i="1">
                <a:solidFill>
                  <a:schemeClr val="tx2"/>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00BCFF"/>
                </a:solidFill>
              </a:rPr>
              <a:t>///////////</a:t>
            </a:r>
          </a:p>
        </p:txBody>
      </p:sp>
      <p:sp>
        <p:nvSpPr>
          <p:cNvPr id="21" name="Text Placeholder 20"/>
          <p:cNvSpPr>
            <a:spLocks noGrp="1"/>
          </p:cNvSpPr>
          <p:nvPr>
            <p:ph type="body" sz="quarter" idx="13"/>
          </p:nvPr>
        </p:nvSpPr>
        <p:spPr bwMode="black">
          <a:xfrm>
            <a:off x="1414403"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Picture Placeholder 12"/>
          <p:cNvSpPr>
            <a:spLocks noGrp="1"/>
          </p:cNvSpPr>
          <p:nvPr>
            <p:ph type="pic" sz="quarter" idx="14"/>
          </p:nvPr>
        </p:nvSpPr>
        <p:spPr bwMode="gray">
          <a:xfrm>
            <a:off x="4077846" y="0"/>
            <a:ext cx="811257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05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2"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97B69ACE-CD98-4255-9979-C275B4498F07}"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black">
          <a:xfrm>
            <a:off x="709565" y="2424948"/>
            <a:ext cx="3620357" cy="1440000"/>
          </a:xfrm>
        </p:spPr>
        <p:txBody>
          <a:bodyPr anchor="t"/>
          <a:lstStyle>
            <a:lvl1pPr>
              <a:defRPr sz="3200" i="1">
                <a:solidFill>
                  <a:schemeClr val="accent2"/>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black">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89D329"/>
                </a:solidFill>
              </a:rPr>
              <a:t>///////////</a:t>
            </a:r>
          </a:p>
        </p:txBody>
      </p:sp>
      <p:sp>
        <p:nvSpPr>
          <p:cNvPr id="21" name="Text Placeholder 20"/>
          <p:cNvSpPr>
            <a:spLocks noGrp="1"/>
          </p:cNvSpPr>
          <p:nvPr>
            <p:ph type="body" sz="quarter" idx="13"/>
          </p:nvPr>
        </p:nvSpPr>
        <p:spPr bwMode="black">
          <a:xfrm>
            <a:off x="1414403"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Picture Placeholder 12"/>
          <p:cNvSpPr>
            <a:spLocks noGrp="1"/>
          </p:cNvSpPr>
          <p:nvPr>
            <p:ph type="pic" sz="quarter" idx="14"/>
          </p:nvPr>
        </p:nvSpPr>
        <p:spPr bwMode="gray">
          <a:xfrm>
            <a:off x="4077847" y="0"/>
            <a:ext cx="8114954"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870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6765" y="403540"/>
            <a:ext cx="9624002"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342" y="1843721"/>
            <a:ext cx="4680000" cy="4641030"/>
          </a:xfrm>
        </p:spPr>
        <p:txBody>
          <a:bodyPr/>
          <a:lstStyle>
            <a:lvl1pPr marL="269995" indent="-269995">
              <a:spcBef>
                <a:spcPts val="1800"/>
              </a:spcBef>
              <a:spcAft>
                <a:spcPts val="0"/>
              </a:spcAft>
              <a:buFontTx/>
              <a:buBlip>
                <a:blip r:embed="rId2"/>
              </a:buBlip>
              <a:defRPr sz="2000"/>
            </a:lvl1pPr>
            <a:lvl2pPr marL="539990" indent="-269995">
              <a:spcBef>
                <a:spcPts val="600"/>
              </a:spcBef>
              <a:spcAft>
                <a:spcPts val="0"/>
              </a:spcAft>
              <a:buFontTx/>
              <a:buBlip>
                <a:blip r:embed="rId3"/>
              </a:buBlip>
              <a:defRPr sz="2000"/>
            </a:lvl2pPr>
            <a:lvl3pPr marL="809985" indent="-269995">
              <a:spcBef>
                <a:spcPts val="600"/>
              </a:spcBef>
              <a:spcAft>
                <a:spcPts val="0"/>
              </a:spcAft>
              <a:buFontTx/>
              <a:buBlip>
                <a:blip r:embed="rId4"/>
              </a:buBlip>
              <a:defRPr sz="2000"/>
            </a:lvl3pPr>
            <a:lvl4pPr marL="1079980" indent="-269995">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Date Placeholder 2"/>
          <p:cNvSpPr>
            <a:spLocks noGrp="1"/>
          </p:cNvSpPr>
          <p:nvPr>
            <p:ph type="dt" sz="half" idx="10"/>
          </p:nvPr>
        </p:nvSpPr>
        <p:spPr bwMode="gray"/>
        <p:txBody>
          <a:bodyPr/>
          <a:lstStyle/>
          <a:p>
            <a:fld id="{9CBEAE58-FFE2-4614-B260-5E8F9D054190}" type="datetime1">
              <a:rPr lang="en-US" smtClean="0"/>
              <a:pPr/>
              <a:t>10/10/2019</a:t>
            </a:fld>
            <a:endParaRPr lang="en-US" dirty="0"/>
          </a:p>
        </p:txBody>
      </p:sp>
      <p:sp>
        <p:nvSpPr>
          <p:cNvPr id="4" name="Footer Placeholder 3"/>
          <p:cNvSpPr>
            <a:spLocks noGrp="1"/>
          </p:cNvSpPr>
          <p:nvPr>
            <p:ph type="ftr" sz="quarter" idx="11"/>
          </p:nvPr>
        </p:nvSpPr>
        <p:spPr bwMode="gray">
          <a:xfrm>
            <a:off x="974677" y="6617933"/>
            <a:ext cx="5710665" cy="108000"/>
          </a:xfrm>
        </p:spPr>
        <p:txBody>
          <a:bodyPr/>
          <a:lstStyle/>
          <a:p>
            <a:r>
              <a:rPr lang="en-US">
                <a:solidFill>
                  <a:srgbClr val="10384F"/>
                </a:solidFill>
              </a:rPr>
              <a:t>/// Bayer 16:9 Template /// November 2017</a:t>
            </a:r>
            <a:endParaRPr lang="en-US" dirty="0">
              <a:solidFill>
                <a:srgbClr val="10384F"/>
              </a:solidFill>
            </a:endParaRPr>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solidFill>
                  <a:srgbClr val="00BCFF"/>
                </a:solidFill>
              </a:rPr>
              <a:pPr/>
              <a:t>‹#›</a:t>
            </a:fld>
            <a:endParaRPr lang="en-US" dirty="0">
              <a:solidFill>
                <a:srgbClr val="00BCFF"/>
              </a:solidFill>
            </a:endParaRPr>
          </a:p>
        </p:txBody>
      </p:sp>
      <p:pic>
        <p:nvPicPr>
          <p:cNvPr id="9" name="Picture 2" descr="\\nas-mainz\Projekte_vertraulich\Bayer\17-0612_Fischer_CI-Redesign\vom Kunden\Bayer_Cross_2017_on-Screen_RGB_170630.wm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701676" y="704850"/>
            <a:ext cx="720312"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7804241" y="1"/>
            <a:ext cx="4386177"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385"/>
              <a:endParaRPr lang="de-DE">
                <a:solidFill>
                  <a:srgbClr val="000000"/>
                </a:solidFill>
              </a:endParaRPr>
            </a:p>
          </p:txBody>
        </p:sp>
      </p:grpSp>
    </p:spTree>
    <p:extLst>
      <p:ext uri="{BB962C8B-B14F-4D97-AF65-F5344CB8AC3E}">
        <p14:creationId xmlns:p14="http://schemas.microsoft.com/office/powerpoint/2010/main" val="79996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15" rIns="91440" bIns="45715" numCol="1" rtlCol="0" anchor="ctr" anchorCtr="0" compatLnSpc="1">
            <a:prstTxWarp prst="textNoShape">
              <a:avLst/>
            </a:prstTxWarp>
          </a:bodyPr>
          <a:lstStyle/>
          <a:p>
            <a:pPr algn="ctr" defTabSz="914385"/>
            <a:endParaRPr lang="en-US" dirty="0" err="1">
              <a:solidFill>
                <a:srgbClr val="000000"/>
              </a:solidFill>
            </a:endParaRPr>
          </a:p>
        </p:txBody>
      </p:sp>
      <p:sp>
        <p:nvSpPr>
          <p:cNvPr id="3" name="Date Placeholder 2"/>
          <p:cNvSpPr>
            <a:spLocks noGrp="1"/>
          </p:cNvSpPr>
          <p:nvPr>
            <p:ph type="dt" sz="half" idx="10"/>
          </p:nvPr>
        </p:nvSpPr>
        <p:spPr bwMode="gray"/>
        <p:txBody>
          <a:bodyPr/>
          <a:lstStyle/>
          <a:p>
            <a:fld id="{B6007E8B-6AB3-43BB-AA67-A44083F98339}" type="datetime1">
              <a:rPr lang="en-US" smtClean="0"/>
              <a:pPr/>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 Bayer 16:9 Template /// November 2017</a:t>
            </a:r>
            <a:endParaRPr lang="en-US" dirty="0">
              <a:solidFill>
                <a:srgbClr val="FFFFFF"/>
              </a:solidFill>
            </a:endParaRP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grpSp>
      <p:sp>
        <p:nvSpPr>
          <p:cNvPr id="2" name="Title 1"/>
          <p:cNvSpPr>
            <a:spLocks noGrp="1"/>
          </p:cNvSpPr>
          <p:nvPr>
            <p:ph type="title"/>
          </p:nvPr>
        </p:nvSpPr>
        <p:spPr bwMode="black">
          <a:xfrm>
            <a:off x="1809949" y="1473907"/>
            <a:ext cx="4140000" cy="1440753"/>
          </a:xfrm>
        </p:spPr>
        <p:txBody>
          <a:bodyPr anchor="b"/>
          <a:lstStyle>
            <a:lvl1pPr algn="r">
              <a:defRPr sz="4800" i="1">
                <a:solidFill>
                  <a:schemeClr val="bg1"/>
                </a:solidFill>
              </a:defRPr>
            </a:lvl1pPr>
          </a:lstStyle>
          <a:p>
            <a:r>
              <a:rPr lang="de-DE"/>
              <a:t>Titelmasterformat durch Klicken bearbeiten</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grpSp>
    </p:spTree>
    <p:extLst>
      <p:ext uri="{BB962C8B-B14F-4D97-AF65-F5344CB8AC3E}">
        <p14:creationId xmlns:p14="http://schemas.microsoft.com/office/powerpoint/2010/main" val="377303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31"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15" rIns="91440" bIns="45715" numCol="1" rtlCol="0" anchor="ctr" anchorCtr="0" compatLnSpc="1">
            <a:prstTxWarp prst="textNoShape">
              <a:avLst/>
            </a:prstTxWarp>
          </a:bodyPr>
          <a:lstStyle/>
          <a:p>
            <a:pPr algn="ctr" defTabSz="914385"/>
            <a:endParaRPr lang="en-US" dirty="0" err="1">
              <a:solidFill>
                <a:srgbClr val="000000"/>
              </a:solidFill>
            </a:endParaRPr>
          </a:p>
        </p:txBody>
      </p:sp>
      <p:sp>
        <p:nvSpPr>
          <p:cNvPr id="2" name="Title 1"/>
          <p:cNvSpPr>
            <a:spLocks noGrp="1"/>
          </p:cNvSpPr>
          <p:nvPr>
            <p:ph type="title"/>
          </p:nvPr>
        </p:nvSpPr>
        <p:spPr bwMode="black">
          <a:xfrm>
            <a:off x="6678387" y="2989338"/>
            <a:ext cx="4500000" cy="1440753"/>
          </a:xfrm>
        </p:spPr>
        <p:txBody>
          <a:bodyPr anchor="t"/>
          <a:lstStyle>
            <a:lvl1pPr algn="l">
              <a:defRPr sz="4800" i="1">
                <a:solidFill>
                  <a:schemeClr val="bg1"/>
                </a:solidFill>
              </a:defRPr>
            </a:lvl1pPr>
          </a:lstStyle>
          <a:p>
            <a:r>
              <a:rPr lang="de-DE"/>
              <a:t>Titelmasterformat durch Klicken bearbeiten</a:t>
            </a:r>
            <a:endParaRPr lang="en-US" dirty="0"/>
          </a:p>
        </p:txBody>
      </p:sp>
      <p:sp>
        <p:nvSpPr>
          <p:cNvPr id="3" name="Date Placeholder 2"/>
          <p:cNvSpPr>
            <a:spLocks noGrp="1"/>
          </p:cNvSpPr>
          <p:nvPr>
            <p:ph type="dt" sz="half" idx="10"/>
          </p:nvPr>
        </p:nvSpPr>
        <p:spPr bwMode="gray"/>
        <p:txBody>
          <a:bodyPr/>
          <a:lstStyle/>
          <a:p>
            <a:fld id="{51454579-4847-409E-A6FE-81B5043322F8}" type="datetime1">
              <a:rPr lang="en-US" smtClean="0"/>
              <a:pPr/>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 Bayer 16:9 Template /// November 2017</a:t>
            </a:r>
            <a:endParaRPr lang="en-US" dirty="0">
              <a:solidFill>
                <a:srgbClr val="FFFFFF"/>
              </a:solidFill>
            </a:endParaRP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dirty="0"/>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grpSp>
    </p:spTree>
    <p:extLst>
      <p:ext uri="{BB962C8B-B14F-4D97-AF65-F5344CB8AC3E}">
        <p14:creationId xmlns:p14="http://schemas.microsoft.com/office/powerpoint/2010/main" val="243740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15" rIns="91440" bIns="45715" numCol="1" rtlCol="0" anchor="ctr" anchorCtr="0" compatLnSpc="1">
            <a:prstTxWarp prst="textNoShape">
              <a:avLst/>
            </a:prstTxWarp>
          </a:bodyPr>
          <a:lstStyle/>
          <a:p>
            <a:pPr algn="ctr" defTabSz="914385"/>
            <a:endParaRPr lang="en-US" dirty="0" err="1">
              <a:solidFill>
                <a:srgbClr val="000000"/>
              </a:solidFill>
            </a:endParaRPr>
          </a:p>
        </p:txBody>
      </p:sp>
      <p:sp>
        <p:nvSpPr>
          <p:cNvPr id="2" name="Title 1"/>
          <p:cNvSpPr>
            <a:spLocks noGrp="1"/>
          </p:cNvSpPr>
          <p:nvPr>
            <p:ph type="title"/>
          </p:nvPr>
        </p:nvSpPr>
        <p:spPr bwMode="black">
          <a:xfrm>
            <a:off x="4854344" y="1462163"/>
            <a:ext cx="4500000" cy="1440753"/>
          </a:xfrm>
        </p:spPr>
        <p:txBody>
          <a:bodyPr anchor="b"/>
          <a:lstStyle>
            <a:lvl1pPr algn="l">
              <a:defRPr sz="4800" i="1">
                <a:solidFill>
                  <a:schemeClr val="bg1"/>
                </a:solidFill>
              </a:defRPr>
            </a:lvl1pPr>
          </a:lstStyle>
          <a:p>
            <a:r>
              <a:rPr lang="de-DE"/>
              <a:t>Titelmasterformat durch Klicken bearbeiten</a:t>
            </a:r>
            <a:endParaRPr lang="en-US" dirty="0"/>
          </a:p>
        </p:txBody>
      </p:sp>
      <p:sp>
        <p:nvSpPr>
          <p:cNvPr id="3" name="Date Placeholder 2"/>
          <p:cNvSpPr>
            <a:spLocks noGrp="1"/>
          </p:cNvSpPr>
          <p:nvPr>
            <p:ph type="dt" sz="half" idx="10"/>
          </p:nvPr>
        </p:nvSpPr>
        <p:spPr bwMode="gray"/>
        <p:txBody>
          <a:bodyPr/>
          <a:lstStyle/>
          <a:p>
            <a:fld id="{88B2D695-44EF-4035-BF30-37C4C756A4AA}" type="datetime1">
              <a:rPr lang="en-US" smtClean="0"/>
              <a:pPr/>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solidFill>
                  <a:srgbClr val="FFFFFF"/>
                </a:solidFill>
              </a:rPr>
              <a:t>/// Bayer 16:9 Template /// November 2017</a:t>
            </a:r>
            <a:endParaRPr lang="en-US" dirty="0">
              <a:solidFill>
                <a:srgbClr val="FFFFFF"/>
              </a:solidFill>
            </a:endParaRP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solidFill>
                  <a:srgbClr val="FFFFFF"/>
                </a:solidFill>
              </a:rPr>
              <a:pPr/>
              <a:t>‹#›</a:t>
            </a:fld>
            <a:endParaRPr lang="en-US" dirty="0">
              <a:solidFill>
                <a:srgbClr val="FFFFFF"/>
              </a:solidFill>
            </a:endParaRPr>
          </a:p>
        </p:txBody>
      </p:sp>
      <p:grpSp>
        <p:nvGrpSpPr>
          <p:cNvPr id="23" name="Group 219"/>
          <p:cNvGrpSpPr>
            <a:grpSpLocks noChangeAspect="1"/>
          </p:cNvGrpSpPr>
          <p:nvPr/>
        </p:nvGrpSpPr>
        <p:grpSpPr bwMode="gray">
          <a:xfrm>
            <a:off x="197700" y="617323"/>
            <a:ext cx="395248"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60"/>
              <a:endParaRPr lang="en-US" dirty="0">
                <a:solidFill>
                  <a:prstClr val="black"/>
                </a:solidFill>
              </a:endParaRPr>
            </a:p>
          </p:txBody>
        </p:sp>
      </p:gr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de-DE"/>
              <a:t>Formatvorlage des Untertitelmasters durch Klicken bearbeiten</a:t>
            </a:r>
            <a:endParaRPr lang="en-US" dirty="0"/>
          </a:p>
        </p:txBody>
      </p:sp>
      <p:grpSp>
        <p:nvGrpSpPr>
          <p:cNvPr id="24" name="Group 23"/>
          <p:cNvGrpSpPr/>
          <p:nvPr/>
        </p:nvGrpSpPr>
        <p:grpSpPr bwMode="black">
          <a:xfrm>
            <a:off x="759613"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85"/>
              <a:endParaRPr lang="en-US">
                <a:solidFill>
                  <a:srgbClr val="000000"/>
                </a:solidFill>
              </a:endParaRPr>
            </a:p>
          </p:txBody>
        </p:sp>
      </p:grpSp>
    </p:spTree>
    <p:extLst>
      <p:ext uri="{BB962C8B-B14F-4D97-AF65-F5344CB8AC3E}">
        <p14:creationId xmlns:p14="http://schemas.microsoft.com/office/powerpoint/2010/main" val="24229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2AB565FC-8E8B-4323-BA5D-1C020CE85F6B}"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Bayer 16:9 Template /// November 2017</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Text Placeholder 10"/>
          <p:cNvSpPr>
            <a:spLocks noGrp="1"/>
          </p:cNvSpPr>
          <p:nvPr>
            <p:ph type="body" sz="quarter" idx="14"/>
          </p:nvPr>
        </p:nvSpPr>
        <p:spPr bwMode="gray">
          <a:xfrm>
            <a:off x="980286" y="1732751"/>
            <a:ext cx="10800000"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23"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93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5" y="5"/>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5" rIns="91440" bIns="45715" rtlCol="0" anchor="ctr"/>
          <a:lstStyle/>
          <a:p>
            <a:pPr algn="ctr" defTabSz="914385"/>
            <a:endParaRPr lang="en-GB">
              <a:solidFill>
                <a:srgbClr val="FFFFFF"/>
              </a:solidFill>
            </a:endParaRPr>
          </a:p>
        </p:txBody>
      </p:sp>
      <p:sp>
        <p:nvSpPr>
          <p:cNvPr id="3" name="Subtitle 2"/>
          <p:cNvSpPr>
            <a:spLocks noGrp="1"/>
          </p:cNvSpPr>
          <p:nvPr>
            <p:ph type="subTitle" idx="1"/>
          </p:nvPr>
        </p:nvSpPr>
        <p:spPr bwMode="gray">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498888BB-4F28-427D-8AEF-B436605FC3EC}"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FF3162"/>
                </a:solidFill>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5"/>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a:extLst/>
        </p:spPr>
        <p:txBody>
          <a:bodyPr vert="horz" wrap="square" lIns="91440" tIns="45715" rIns="91440" bIns="45715" numCol="1" anchor="t" anchorCtr="0" compatLnSpc="1">
            <a:prstTxWarp prst="textNoShape">
              <a:avLst/>
            </a:prstTxWarp>
          </a:bodyPr>
          <a:lstStyle/>
          <a:p>
            <a:pPr defTabSz="914385"/>
            <a:endParaRPr lang="en-US">
              <a:solidFill>
                <a:srgbClr val="000000"/>
              </a:solidFill>
            </a:endParaRPr>
          </a:p>
        </p:txBody>
      </p:sp>
    </p:spTree>
    <p:extLst>
      <p:ext uri="{BB962C8B-B14F-4D97-AF65-F5344CB8AC3E}">
        <p14:creationId xmlns:p14="http://schemas.microsoft.com/office/powerpoint/2010/main" val="68062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575"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3" name="Date Placeholder 2"/>
          <p:cNvSpPr>
            <a:spLocks noGrp="1"/>
          </p:cNvSpPr>
          <p:nvPr>
            <p:ph type="dt" sz="half" idx="10"/>
          </p:nvPr>
        </p:nvSpPr>
        <p:spPr bwMode="gray"/>
        <p:txBody>
          <a:bodyPr/>
          <a:lstStyle/>
          <a:p>
            <a:fld id="{EACA9DDE-6CF4-4C99-A2B7-6AB362D7B47D}" type="datetime1">
              <a:rPr lang="en-US" smtClean="0"/>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Advancing Digital /// Topic /// Date</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6846097" y="3064854"/>
            <a:ext cx="4500000"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09949" y="1473902"/>
            <a:ext cx="4140000"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111" y="1"/>
            <a:ext cx="2593510"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24"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4135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5" y="5"/>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5" rIns="91440" bIns="45715" rtlCol="0" anchor="ctr"/>
          <a:lstStyle/>
          <a:p>
            <a:pPr algn="ctr" defTabSz="914385"/>
            <a:endParaRPr lang="en-GB">
              <a:solidFill>
                <a:srgbClr val="FFFFFF"/>
              </a:solidFill>
            </a:endParaRPr>
          </a:p>
        </p:txBody>
      </p:sp>
      <p:sp>
        <p:nvSpPr>
          <p:cNvPr id="3" name="Subtitle 2"/>
          <p:cNvSpPr>
            <a:spLocks noGrp="1"/>
          </p:cNvSpPr>
          <p:nvPr>
            <p:ph type="subTitle" idx="1"/>
          </p:nvPr>
        </p:nvSpPr>
        <p:spPr bwMode="gray">
          <a:xfrm>
            <a:off x="708821" y="1732762"/>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9B357385-9664-493B-BCFF-C9CB527DD120}"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00BCFF"/>
                </a:solidFill>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5"/>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a:extLst/>
        </p:spPr>
        <p:txBody>
          <a:bodyPr vert="horz" wrap="square" lIns="91440" tIns="45715" rIns="91440" bIns="45715" numCol="1" anchor="t" anchorCtr="0" compatLnSpc="1">
            <a:prstTxWarp prst="textNoShape">
              <a:avLst/>
            </a:prstTxWarp>
          </a:bodyPr>
          <a:lstStyle/>
          <a:p>
            <a:pPr defTabSz="914385"/>
            <a:endParaRPr lang="en-US">
              <a:solidFill>
                <a:srgbClr val="000000"/>
              </a:solidFill>
            </a:endParaRPr>
          </a:p>
        </p:txBody>
      </p:sp>
    </p:spTree>
    <p:extLst>
      <p:ext uri="{BB962C8B-B14F-4D97-AF65-F5344CB8AC3E}">
        <p14:creationId xmlns:p14="http://schemas.microsoft.com/office/powerpoint/2010/main" val="279999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5" y="5"/>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5" rIns="91440" bIns="45715" rtlCol="0" anchor="ctr"/>
          <a:lstStyle/>
          <a:p>
            <a:pPr algn="ctr" defTabSz="914385"/>
            <a:endParaRPr lang="en-GB">
              <a:solidFill>
                <a:srgbClr val="FFFFFF"/>
              </a:solidFill>
            </a:endParaRPr>
          </a:p>
        </p:txBody>
      </p:sp>
      <p:sp>
        <p:nvSpPr>
          <p:cNvPr id="3" name="Subtitle 2"/>
          <p:cNvSpPr>
            <a:spLocks noGrp="1"/>
          </p:cNvSpPr>
          <p:nvPr>
            <p:ph type="subTitle" idx="1"/>
          </p:nvPr>
        </p:nvSpPr>
        <p:spPr bwMode="gray">
          <a:xfrm>
            <a:off x="708820" y="1732762"/>
            <a:ext cx="5381496"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fld id="{9F287937-82AD-4514-8CDB-72B44ED4C37D}" type="datetime1">
              <a:rPr lang="en-US" smtClean="0"/>
              <a:pPr/>
              <a:t>10/10/2019</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 Bayer 16:9 Template /// November 2017</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de-DE"/>
              <a:t>Titelmasterformat durch Klicken bearbeiten</a:t>
            </a:r>
            <a:endParaRPr lang="en-US" dirty="0"/>
          </a:p>
        </p:txBody>
      </p:sp>
      <p:sp>
        <p:nvSpPr>
          <p:cNvPr id="18" name="TextBox 17">
            <a:extLst>
              <a:ext uri="{FF2B5EF4-FFF2-40B4-BE49-F238E27FC236}">
                <a16:creationId xmlns:a16="http://schemas.microsoft.com/office/drawing/2014/main" xmlns="" id="{5EE7DB5C-15A7-4763-A498-7608598D843B}"/>
              </a:ext>
            </a:extLst>
          </p:cNvPr>
          <p:cNvSpPr txBox="1"/>
          <p:nvPr/>
        </p:nvSpPr>
        <p:spPr bwMode="white">
          <a:xfrm>
            <a:off x="1378688" y="4041068"/>
            <a:ext cx="480832" cy="179724"/>
          </a:xfrm>
          <a:prstGeom prst="rect">
            <a:avLst/>
          </a:prstGeom>
          <a:noFill/>
        </p:spPr>
        <p:txBody>
          <a:bodyPr wrap="none" lIns="0" tIns="0" rIns="0" bIns="0" rtlCol="0" anchor="ctr">
            <a:noAutofit/>
          </a:bodyPr>
          <a:lstStyle/>
          <a:p>
            <a:pPr algn="ctr" defTabSz="915660">
              <a:defRPr/>
            </a:pPr>
            <a:r>
              <a:rPr lang="en-US" sz="1100" kern="0" dirty="0">
                <a:solidFill>
                  <a:srgbClr val="89D329"/>
                </a:solidFill>
              </a:rPr>
              <a:t>///////////</a:t>
            </a:r>
          </a:p>
        </p:txBody>
      </p:sp>
      <p:sp>
        <p:nvSpPr>
          <p:cNvPr id="21" name="Text Placeholder 20"/>
          <p:cNvSpPr>
            <a:spLocks noGrp="1"/>
          </p:cNvSpPr>
          <p:nvPr>
            <p:ph type="body" sz="quarter" idx="13"/>
          </p:nvPr>
        </p:nvSpPr>
        <p:spPr bwMode="gray">
          <a:xfrm>
            <a:off x="1414398" y="4262151"/>
            <a:ext cx="3600000"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100">
                <a:solidFill>
                  <a:schemeClr val="bg1"/>
                </a:solidFill>
              </a:defRPr>
            </a:lvl2pPr>
            <a:lvl3pPr marL="0" indent="0">
              <a:spcBef>
                <a:spcPts val="0"/>
              </a:spcBef>
              <a:spcAft>
                <a:spcPts val="0"/>
              </a:spcAft>
              <a:buFont typeface="Arial" panose="020B0604020202020204" pitchFamily="34" charset="0"/>
              <a:buNone/>
              <a:defRPr sz="1100">
                <a:solidFill>
                  <a:schemeClr val="bg1"/>
                </a:solidFill>
              </a:defRPr>
            </a:lvl3pPr>
            <a:lvl4pPr marL="0" indent="0">
              <a:spcBef>
                <a:spcPts val="0"/>
              </a:spcBef>
              <a:spcAft>
                <a:spcPts val="0"/>
              </a:spcAft>
              <a:buFont typeface="Arial" panose="020B0604020202020204" pitchFamily="34" charset="0"/>
              <a:buNone/>
              <a:defRPr sz="1100">
                <a:solidFill>
                  <a:schemeClr val="bg1"/>
                </a:solidFill>
              </a:defRPr>
            </a:lvl4pPr>
            <a:lvl5pPr marL="0" indent="0">
              <a:spcBef>
                <a:spcPts val="0"/>
              </a:spcBef>
              <a:spcAft>
                <a:spcPts val="0"/>
              </a:spcAft>
              <a:buFont typeface="Arial" panose="020B0604020202020204" pitchFamily="34" charset="0"/>
              <a:buNone/>
              <a:defRPr sz="1100">
                <a:solidFill>
                  <a:schemeClr val="bg1"/>
                </a:solidFill>
              </a:defRPr>
            </a:lvl5pPr>
            <a:lvl6pPr marL="0" indent="0">
              <a:spcBef>
                <a:spcPts val="0"/>
              </a:spcBef>
              <a:spcAft>
                <a:spcPts val="0"/>
              </a:spcAft>
              <a:buFont typeface="Arial" panose="020B0604020202020204" pitchFamily="34" charset="0"/>
              <a:buNone/>
              <a:defRPr sz="1100">
                <a:solidFill>
                  <a:schemeClr val="bg1"/>
                </a:solidFill>
              </a:defRPr>
            </a:lvl6pPr>
            <a:lvl7pPr marL="0" indent="0">
              <a:spcBef>
                <a:spcPts val="0"/>
              </a:spcBef>
              <a:spcAft>
                <a:spcPts val="0"/>
              </a:spcAft>
              <a:buFont typeface="Arial" panose="020B0604020202020204" pitchFamily="34" charset="0"/>
              <a:buNone/>
              <a:defRPr sz="1100">
                <a:solidFill>
                  <a:schemeClr val="bg1"/>
                </a:solidFill>
              </a:defRPr>
            </a:lvl7pPr>
            <a:lvl8pPr marL="0" indent="0">
              <a:spcBef>
                <a:spcPts val="0"/>
              </a:spcBef>
              <a:spcAft>
                <a:spcPts val="0"/>
              </a:spcAft>
              <a:buFont typeface="Arial" panose="020B0604020202020204" pitchFamily="34" charset="0"/>
              <a:buNone/>
              <a:defRPr sz="1100">
                <a:solidFill>
                  <a:schemeClr val="bg1"/>
                </a:solidFill>
              </a:defRPr>
            </a:lvl8pPr>
            <a:lvl9pPr marL="0" indent="0">
              <a:spcBef>
                <a:spcPts val="0"/>
              </a:spcBef>
              <a:spcAft>
                <a:spcPts val="0"/>
              </a:spcAft>
              <a:buFont typeface="Arial" panose="020B0604020202020204" pitchFamily="34" charset="0"/>
              <a:buNone/>
              <a:defRPr sz="110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39990" anchor="ctr">
            <a:noAutofit/>
          </a:bodyPr>
          <a:lstStyle>
            <a:lvl1pPr algn="ctr">
              <a:defRPr/>
            </a:lvl1pPr>
          </a:lstStyle>
          <a:p>
            <a:r>
              <a:rPr lang="de-DE"/>
              <a:t>Bild durch Klicken auf Symbol hinzufügen</a:t>
            </a:r>
            <a:endParaRPr lang="de-DE" dirty="0"/>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81"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4" y="5"/>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a:extLst/>
        </p:spPr>
        <p:txBody>
          <a:bodyPr vert="horz" wrap="square" lIns="91440" tIns="45715" rIns="91440" bIns="45715" numCol="1" anchor="t" anchorCtr="0" compatLnSpc="1">
            <a:prstTxWarp prst="textNoShape">
              <a:avLst/>
            </a:prstTxWarp>
          </a:bodyPr>
          <a:lstStyle/>
          <a:p>
            <a:pPr defTabSz="914385"/>
            <a:endParaRPr lang="en-US">
              <a:solidFill>
                <a:srgbClr val="000000"/>
              </a:solidFill>
            </a:endParaRPr>
          </a:p>
        </p:txBody>
      </p:sp>
    </p:spTree>
    <p:extLst>
      <p:ext uri="{BB962C8B-B14F-4D97-AF65-F5344CB8AC3E}">
        <p14:creationId xmlns:p14="http://schemas.microsoft.com/office/powerpoint/2010/main" val="78033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669" y="1735137"/>
            <a:ext cx="10800000"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5" rIns="91440" bIns="45715" rtlCol="0" anchor="ctr"/>
          <a:lstStyle/>
          <a:p>
            <a:pPr algn="ctr" defTabSz="914385"/>
            <a:r>
              <a:rPr lang="en-US" dirty="0">
                <a:solidFill>
                  <a:srgbClr val="FFFFFF"/>
                </a:solidFill>
              </a:rPr>
              <a:t>Please restrict your content to this area</a:t>
            </a:r>
          </a:p>
        </p:txBody>
      </p:sp>
      <p:sp>
        <p:nvSpPr>
          <p:cNvPr id="3" name="Date Placeholder 2"/>
          <p:cNvSpPr>
            <a:spLocks noGrp="1"/>
          </p:cNvSpPr>
          <p:nvPr>
            <p:ph type="dt" sz="half" idx="10"/>
          </p:nvPr>
        </p:nvSpPr>
        <p:spPr bwMode="gray"/>
        <p:txBody>
          <a:bodyPr/>
          <a:lstStyle/>
          <a:p>
            <a:fld id="{1FC2FA77-277E-4DD7-9D3C-06934AB4FDB1}" type="datetime1">
              <a:rPr lang="en-US" smtClean="0"/>
              <a:pPr/>
              <a:t>10/10/2019</a:t>
            </a:fld>
            <a:endParaRPr lang="en-US" dirty="0"/>
          </a:p>
        </p:txBody>
      </p:sp>
      <p:sp>
        <p:nvSpPr>
          <p:cNvPr id="4" name="Footer Placeholder 3"/>
          <p:cNvSpPr>
            <a:spLocks noGrp="1"/>
          </p:cNvSpPr>
          <p:nvPr>
            <p:ph type="ftr" sz="quarter" idx="11"/>
          </p:nvPr>
        </p:nvSpPr>
        <p:spPr bwMode="gray"/>
        <p:txBody>
          <a:bodyPr/>
          <a:lstStyle/>
          <a:p>
            <a:r>
              <a:rPr lang="en-US">
                <a:solidFill>
                  <a:srgbClr val="10384F"/>
                </a:solidFill>
              </a:rPr>
              <a:t>/// Bayer 16:9 Template /// November 2017</a:t>
            </a:r>
            <a:endParaRPr lang="en-US" dirty="0">
              <a:solidFill>
                <a:srgbClr val="10384F"/>
              </a:solidFill>
            </a:endParaRPr>
          </a:p>
        </p:txBody>
      </p:sp>
      <p:sp>
        <p:nvSpPr>
          <p:cNvPr id="5" name="Slide Number Placeholder 4"/>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8" name="Title 4"/>
          <p:cNvSpPr txBox="1">
            <a:spLocks/>
          </p:cNvSpPr>
          <p:nvPr/>
        </p:nvSpPr>
        <p:spPr bwMode="gray">
          <a:xfrm>
            <a:off x="981820" y="590935"/>
            <a:ext cx="10800000"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10384F"/>
                </a:solidFill>
              </a:rPr>
              <a:t>Content area and guides</a:t>
            </a:r>
          </a:p>
        </p:txBody>
      </p:sp>
      <p:grpSp>
        <p:nvGrpSpPr>
          <p:cNvPr id="2" name="Group 1"/>
          <p:cNvGrpSpPr/>
          <p:nvPr/>
        </p:nvGrpSpPr>
        <p:grpSpPr>
          <a:xfrm>
            <a:off x="5" y="0"/>
            <a:ext cx="12190413"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385"/>
              <a:r>
                <a:rPr lang="de-DE" sz="800" dirty="0">
                  <a:solidFill>
                    <a:srgbClr val="D30F4B"/>
                  </a:solidFill>
                </a:rPr>
                <a:t>14,20</a:t>
              </a:r>
            </a:p>
            <a:p>
              <a:pPr defTabSz="914385"/>
              <a:r>
                <a:rPr lang="de-DE" sz="800" dirty="0">
                  <a:solidFill>
                    <a:srgbClr val="D30F4B"/>
                  </a:solidFill>
                </a:rPr>
                <a:t>5.59</a:t>
              </a:r>
            </a:p>
            <a:p>
              <a:pPr defTabSz="914385"/>
              <a:endParaRPr lang="en-US" sz="800" dirty="0">
                <a:solidFill>
                  <a:srgbClr val="D30F4B"/>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800" dirty="0">
                  <a:solidFill>
                    <a:srgbClr val="D30F4B"/>
                  </a:solidFill>
                </a:rPr>
                <a:t>7,45</a:t>
              </a:r>
            </a:p>
            <a:p>
              <a:pPr algn="r" defTabSz="914385"/>
              <a:r>
                <a:rPr lang="de-DE" sz="800" dirty="0">
                  <a:solidFill>
                    <a:srgbClr val="D30F4B"/>
                  </a:solidFill>
                </a:rPr>
                <a:t>2.93</a:t>
              </a:r>
              <a:endParaRPr lang="en-US" sz="800" dirty="0">
                <a:solidFill>
                  <a:srgbClr val="D30F4B"/>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385"/>
              <a:r>
                <a:rPr lang="de-DE" sz="800" dirty="0">
                  <a:solidFill>
                    <a:srgbClr val="D30F4B"/>
                  </a:solidFill>
                </a:rPr>
                <a:t>6,45</a:t>
              </a:r>
            </a:p>
            <a:p>
              <a:pPr defTabSz="914385"/>
              <a:r>
                <a:rPr lang="de-DE" sz="800" dirty="0">
                  <a:solidFill>
                    <a:srgbClr val="D30F4B"/>
                  </a:solidFill>
                </a:rPr>
                <a:t>2.54</a:t>
              </a:r>
              <a:endParaRPr lang="en-US" sz="800" dirty="0">
                <a:solidFill>
                  <a:srgbClr val="D30F4B"/>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800" dirty="0">
                  <a:solidFill>
                    <a:srgbClr val="D30F4B"/>
                  </a:solidFill>
                </a:rPr>
                <a:t>0,30</a:t>
              </a:r>
            </a:p>
            <a:p>
              <a:pPr algn="r" defTabSz="914385"/>
              <a:r>
                <a:rPr lang="de-DE" sz="800" dirty="0">
                  <a:solidFill>
                    <a:srgbClr val="D30F4B"/>
                  </a:solidFill>
                </a:rPr>
                <a:t>0.12</a:t>
              </a:r>
              <a:endParaRPr lang="en-US" sz="800" dirty="0">
                <a:solidFill>
                  <a:srgbClr val="D30F4B"/>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385"/>
              <a:r>
                <a:rPr lang="de-DE" sz="800" dirty="0">
                  <a:solidFill>
                    <a:srgbClr val="D30F4B"/>
                  </a:solidFill>
                </a:rPr>
                <a:t>1,30</a:t>
              </a:r>
            </a:p>
            <a:p>
              <a:pPr defTabSz="914385"/>
              <a:r>
                <a:rPr lang="de-DE" sz="800" dirty="0">
                  <a:solidFill>
                    <a:srgbClr val="D30F4B"/>
                  </a:solidFill>
                </a:rPr>
                <a:t>0.51</a:t>
              </a:r>
              <a:endParaRPr lang="en-US" sz="800" dirty="0">
                <a:solidFill>
                  <a:srgbClr val="D30F4B"/>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800" dirty="0">
                  <a:solidFill>
                    <a:srgbClr val="D30F4B"/>
                  </a:solidFill>
                </a:rPr>
                <a:t>8,06</a:t>
              </a:r>
            </a:p>
            <a:p>
              <a:pPr algn="r" defTabSz="914385"/>
              <a:r>
                <a:rPr lang="de-DE" sz="800" dirty="0">
                  <a:solidFill>
                    <a:srgbClr val="D30F4B"/>
                  </a:solidFill>
                </a:rPr>
                <a:t>3.17</a:t>
              </a:r>
              <a:endParaRPr lang="en-US" sz="800" dirty="0">
                <a:solidFill>
                  <a:srgbClr val="D30F4B"/>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385"/>
              <a:r>
                <a:rPr lang="de-DE" sz="800" dirty="0">
                  <a:solidFill>
                    <a:srgbClr val="D30F4B"/>
                  </a:solidFill>
                </a:rPr>
                <a:t>9,06</a:t>
              </a:r>
            </a:p>
            <a:p>
              <a:pPr defTabSz="914385"/>
              <a:r>
                <a:rPr lang="de-DE" sz="800" dirty="0">
                  <a:solidFill>
                    <a:srgbClr val="D30F4B"/>
                  </a:solidFill>
                </a:rPr>
                <a:t>3.57</a:t>
              </a:r>
              <a:endParaRPr lang="en-US" sz="800" dirty="0">
                <a:solidFill>
                  <a:srgbClr val="D30F4B"/>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800" dirty="0">
                  <a:solidFill>
                    <a:srgbClr val="D30F4B"/>
                  </a:solidFill>
                </a:rPr>
                <a:t>15,80</a:t>
              </a:r>
            </a:p>
            <a:p>
              <a:pPr algn="r" defTabSz="914385"/>
              <a:r>
                <a:rPr lang="de-DE" sz="800" dirty="0">
                  <a:solidFill>
                    <a:srgbClr val="D30F4B"/>
                  </a:solidFill>
                </a:rPr>
                <a:t>6.22</a:t>
              </a:r>
              <a:endParaRPr lang="en-US" sz="800" dirty="0">
                <a:solidFill>
                  <a:srgbClr val="D30F4B"/>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defTabSz="914385"/>
              <a:r>
                <a:rPr lang="de-DE" sz="800" dirty="0">
                  <a:solidFill>
                    <a:srgbClr val="D30F4B"/>
                  </a:solidFill>
                </a:rPr>
                <a:t>4,70</a:t>
              </a:r>
            </a:p>
            <a:p>
              <a:pPr algn="r" defTabSz="914385"/>
              <a:r>
                <a:rPr lang="de-DE" sz="800" dirty="0">
                  <a:solidFill>
                    <a:srgbClr val="D30F4B"/>
                  </a:solidFill>
                </a:rPr>
                <a:t>1.85</a:t>
              </a:r>
              <a:endParaRPr lang="en-US" sz="800" dirty="0">
                <a:solidFill>
                  <a:srgbClr val="D30F4B"/>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defTabSz="914385">
                <a:defRPr/>
              </a:pPr>
              <a:r>
                <a:rPr lang="de-DE" sz="800" dirty="0">
                  <a:solidFill>
                    <a:srgbClr val="D30F4B"/>
                  </a:solidFill>
                </a:rPr>
                <a:t>8,49</a:t>
              </a:r>
              <a:endParaRPr lang="en-US" sz="800" dirty="0">
                <a:solidFill>
                  <a:srgbClr val="D30F4B"/>
                </a:solidFill>
              </a:endParaRPr>
            </a:p>
            <a:p>
              <a:pPr algn="r" defTabSz="914385"/>
              <a:r>
                <a:rPr lang="de-DE" sz="800" dirty="0">
                  <a:solidFill>
                    <a:srgbClr val="D30F4B"/>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defTabSz="914385"/>
              <a:r>
                <a:rPr lang="de-DE" sz="800" dirty="0">
                  <a:solidFill>
                    <a:srgbClr val="D30F4B"/>
                  </a:solidFill>
                </a:rPr>
                <a:t>2,40</a:t>
              </a:r>
            </a:p>
            <a:p>
              <a:pPr algn="r" defTabSz="914385"/>
              <a:r>
                <a:rPr lang="de-DE" sz="800" dirty="0">
                  <a:solidFill>
                    <a:srgbClr val="D30F4B"/>
                  </a:solidFill>
                </a:rPr>
                <a:t>0.94</a:t>
              </a:r>
              <a:endParaRPr lang="en-US" sz="800" dirty="0">
                <a:solidFill>
                  <a:srgbClr val="D30F4B"/>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algn="r" defTabSz="914385">
                <a:defRPr/>
              </a:pPr>
              <a:r>
                <a:rPr lang="de-DE" sz="800" dirty="0">
                  <a:solidFill>
                    <a:srgbClr val="D30F4B"/>
                  </a:solidFill>
                </a:rPr>
                <a:t>1,40</a:t>
              </a:r>
              <a:endParaRPr lang="en-US" sz="800" dirty="0">
                <a:solidFill>
                  <a:srgbClr val="D30F4B"/>
                </a:solidFill>
              </a:endParaRPr>
            </a:p>
            <a:p>
              <a:pPr algn="r" defTabSz="914385"/>
              <a:r>
                <a:rPr lang="de-DE" sz="800" dirty="0">
                  <a:solidFill>
                    <a:srgbClr val="D30F4B"/>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600" dirty="0">
                  <a:solidFill>
                    <a:srgbClr val="FF316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385"/>
              <a:r>
                <a:rPr lang="de-DE" sz="600" dirty="0">
                  <a:solidFill>
                    <a:srgbClr val="FF3162"/>
                  </a:solidFill>
                </a:rPr>
                <a:t>0.31</a:t>
              </a:r>
              <a:endParaRPr lang="en-US" sz="600" dirty="0">
                <a:solidFill>
                  <a:srgbClr val="FF316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600" dirty="0">
                  <a:solidFill>
                    <a:srgbClr val="FF316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defTabSz="914385"/>
              <a:r>
                <a:rPr lang="de-DE" sz="600" dirty="0">
                  <a:solidFill>
                    <a:srgbClr val="FF3162"/>
                  </a:solidFill>
                </a:rPr>
                <a:t>0.75</a:t>
              </a:r>
              <a:endParaRPr lang="en-US" sz="600" dirty="0">
                <a:solidFill>
                  <a:srgbClr val="FF316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669" y="1735137"/>
            <a:ext cx="10800000"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15" rIns="91440" bIns="45715" rtlCol="0" anchor="ctr"/>
          <a:lstStyle/>
          <a:p>
            <a:pPr algn="ctr" defTabSz="914385"/>
            <a:r>
              <a:rPr lang="en-US" dirty="0">
                <a:solidFill>
                  <a:srgbClr val="FFFFFF"/>
                </a:solidFill>
              </a:rPr>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23"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662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519560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64FCA5D-B4C2-478A-9E3A-3FE24FEB8A01}" type="datetime1">
              <a:rPr lang="en-US" smtClean="0"/>
              <a:pPr/>
              <a:t>10/10/2019</a:t>
            </a:fld>
            <a:endParaRPr lang="en-US" dirty="0"/>
          </a:p>
        </p:txBody>
      </p:sp>
      <p:sp>
        <p:nvSpPr>
          <p:cNvPr id="4" name="Fußzeilenplatzhalter 3"/>
          <p:cNvSpPr>
            <a:spLocks noGrp="1"/>
          </p:cNvSpPr>
          <p:nvPr>
            <p:ph type="ftr" sz="quarter" idx="11"/>
          </p:nvPr>
        </p:nvSpPr>
        <p:spPr/>
        <p:txBody>
          <a:bodyPr/>
          <a:lstStyle/>
          <a:p>
            <a:r>
              <a:rPr lang="en-US">
                <a:solidFill>
                  <a:srgbClr val="10384F"/>
                </a:solidFill>
              </a:rPr>
              <a:t>• Digital Health Innovation • January 2018</a:t>
            </a:r>
            <a:endParaRPr lang="en-US" dirty="0">
              <a:solidFill>
                <a:srgbClr val="10384F"/>
              </a:solidFill>
            </a:endParaRPr>
          </a:p>
        </p:txBody>
      </p:sp>
      <p:sp>
        <p:nvSpPr>
          <p:cNvPr id="5" name="Foliennummernplatzhalter 4"/>
          <p:cNvSpPr>
            <a:spLocks noGrp="1"/>
          </p:cNvSpPr>
          <p:nvPr>
            <p:ph type="sldNum" sz="quarter" idx="12"/>
          </p:nvPr>
        </p:nvSpPr>
        <p:spPr/>
        <p:txBody>
          <a:bodyPr/>
          <a:lstStyle/>
          <a:p>
            <a:fld id="{EEAD9179-7A6B-4268-BEB2-F3B8EB06115B}" type="slidenum">
              <a:rPr lang="en-US" smtClean="0">
                <a:solidFill>
                  <a:srgbClr val="00BCFF"/>
                </a:solidFill>
              </a:rPr>
              <a:pPr/>
              <a:t>‹#›</a:t>
            </a:fld>
            <a:endParaRPr lang="en-US" dirty="0">
              <a:solidFill>
                <a:srgbClr val="00BCFF"/>
              </a:solidFill>
            </a:endParaRPr>
          </a:p>
        </p:txBody>
      </p:sp>
    </p:spTree>
    <p:extLst>
      <p:ext uri="{BB962C8B-B14F-4D97-AF65-F5344CB8AC3E}">
        <p14:creationId xmlns:p14="http://schemas.microsoft.com/office/powerpoint/2010/main" val="31142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917558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A8A78BC6-2379-4320-9C86-4D60020D3462}"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Tree>
    <p:extLst>
      <p:ext uri="{BB962C8B-B14F-4D97-AF65-F5344CB8AC3E}">
        <p14:creationId xmlns:p14="http://schemas.microsoft.com/office/powerpoint/2010/main" val="358645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2B978546-9BB2-4AD4-87E8-ACF898048AA5}"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7" name="Bildplatzhalter 7"/>
          <p:cNvSpPr>
            <a:spLocks noGrp="1"/>
          </p:cNvSpPr>
          <p:nvPr>
            <p:ph type="pic" sz="quarter" idx="14"/>
          </p:nvPr>
        </p:nvSpPr>
        <p:spPr>
          <a:xfrm>
            <a:off x="6525059" y="1731962"/>
            <a:ext cx="8076766" cy="4745037"/>
          </a:xfrm>
          <a:prstGeom prst="parallelogram">
            <a:avLst>
              <a:gd name="adj" fmla="val 42155"/>
            </a:avLst>
          </a:prstGeom>
        </p:spPr>
        <p:txBody>
          <a:bodyPr/>
          <a:lstStyle/>
          <a:p>
            <a:endParaRPr lang="de-DE"/>
          </a:p>
        </p:txBody>
      </p:sp>
    </p:spTree>
    <p:extLst>
      <p:ext uri="{BB962C8B-B14F-4D97-AF65-F5344CB8AC3E}">
        <p14:creationId xmlns:p14="http://schemas.microsoft.com/office/powerpoint/2010/main" val="339254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17BDC1C2-A075-4D4A-A6C3-BB499FD92915}"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1" name="Bildplatzhalter 9"/>
          <p:cNvSpPr>
            <a:spLocks noGrp="1"/>
          </p:cNvSpPr>
          <p:nvPr>
            <p:ph type="pic" sz="quarter" idx="14"/>
          </p:nvPr>
        </p:nvSpPr>
        <p:spPr>
          <a:xfrm>
            <a:off x="6002811" y="2390775"/>
            <a:ext cx="1122363" cy="1235192"/>
          </a:xfrm>
          <a:prstGeom prst="parallelogram">
            <a:avLst>
              <a:gd name="adj" fmla="val 20839"/>
            </a:avLst>
          </a:prstGeom>
        </p:spPr>
        <p:txBody>
          <a:bodyPr/>
          <a:lstStyle/>
          <a:p>
            <a:endParaRPr lang="de-DE"/>
          </a:p>
        </p:txBody>
      </p:sp>
    </p:spTree>
    <p:extLst>
      <p:ext uri="{BB962C8B-B14F-4D97-AF65-F5344CB8AC3E}">
        <p14:creationId xmlns:p14="http://schemas.microsoft.com/office/powerpoint/2010/main" val="251372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866E8A08-632C-492E-8032-D17AA35E7E7B}"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7" name="Bildplatzhalter 7"/>
          <p:cNvSpPr>
            <a:spLocks noGrp="1"/>
          </p:cNvSpPr>
          <p:nvPr>
            <p:ph type="pic" sz="quarter" idx="14"/>
          </p:nvPr>
        </p:nvSpPr>
        <p:spPr>
          <a:xfrm>
            <a:off x="6525059" y="1731962"/>
            <a:ext cx="8076766" cy="4745037"/>
          </a:xfrm>
          <a:prstGeom prst="parallelogram">
            <a:avLst>
              <a:gd name="adj" fmla="val 42155"/>
            </a:avLst>
          </a:prstGeom>
        </p:spPr>
        <p:txBody>
          <a:bodyPr/>
          <a:lstStyle/>
          <a:p>
            <a:endParaRPr lang="de-DE"/>
          </a:p>
        </p:txBody>
      </p:sp>
      <p:sp>
        <p:nvSpPr>
          <p:cNvPr id="14" name="Bildplatzhalter 11"/>
          <p:cNvSpPr>
            <a:spLocks noGrp="1"/>
          </p:cNvSpPr>
          <p:nvPr>
            <p:ph type="pic" sz="quarter" idx="17"/>
          </p:nvPr>
        </p:nvSpPr>
        <p:spPr>
          <a:xfrm>
            <a:off x="2489738" y="2969897"/>
            <a:ext cx="3062842" cy="2302889"/>
          </a:xfrm>
          <a:prstGeom prst="parallelogram">
            <a:avLst>
              <a:gd name="adj" fmla="val 48244"/>
            </a:avLst>
          </a:prstGeom>
        </p:spPr>
        <p:txBody>
          <a:bodyPr/>
          <a:lstStyle/>
          <a:p>
            <a:endParaRPr lang="de-DE"/>
          </a:p>
        </p:txBody>
      </p:sp>
      <p:sp>
        <p:nvSpPr>
          <p:cNvPr id="15" name="Bildplatzhalter 11"/>
          <p:cNvSpPr>
            <a:spLocks noGrp="1"/>
          </p:cNvSpPr>
          <p:nvPr>
            <p:ph type="pic" sz="quarter" idx="16"/>
          </p:nvPr>
        </p:nvSpPr>
        <p:spPr>
          <a:xfrm>
            <a:off x="4655046" y="2461359"/>
            <a:ext cx="3062842" cy="2302889"/>
          </a:xfrm>
          <a:prstGeom prst="parallelogram">
            <a:avLst>
              <a:gd name="adj" fmla="val 48562"/>
            </a:avLst>
          </a:prstGeom>
        </p:spPr>
        <p:txBody>
          <a:bodyPr/>
          <a:lstStyle/>
          <a:p>
            <a:endParaRPr lang="de-DE"/>
          </a:p>
        </p:txBody>
      </p:sp>
      <p:sp>
        <p:nvSpPr>
          <p:cNvPr id="16" name="Bildplatzhalter 11"/>
          <p:cNvSpPr>
            <a:spLocks noGrp="1"/>
          </p:cNvSpPr>
          <p:nvPr>
            <p:ph type="pic" sz="quarter" idx="15"/>
          </p:nvPr>
        </p:nvSpPr>
        <p:spPr>
          <a:xfrm>
            <a:off x="803907" y="2461359"/>
            <a:ext cx="3062842" cy="2302889"/>
          </a:xfrm>
          <a:prstGeom prst="parallelogram">
            <a:avLst>
              <a:gd name="adj" fmla="val 48562"/>
            </a:avLst>
          </a:prstGeom>
        </p:spPr>
        <p:txBody>
          <a:bodyPr/>
          <a:lstStyle/>
          <a:p>
            <a:endParaRPr lang="de-DE"/>
          </a:p>
        </p:txBody>
      </p:sp>
    </p:spTree>
    <p:extLst>
      <p:ext uri="{BB962C8B-B14F-4D97-AF65-F5344CB8AC3E}">
        <p14:creationId xmlns:p14="http://schemas.microsoft.com/office/powerpoint/2010/main" val="268407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CBC402F0-E8CF-43AB-8179-34532C0D369C}"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10" name="Bildplatzhalter 8"/>
          <p:cNvSpPr>
            <a:spLocks noGrp="1"/>
          </p:cNvSpPr>
          <p:nvPr>
            <p:ph type="pic" sz="quarter" idx="14"/>
          </p:nvPr>
        </p:nvSpPr>
        <p:spPr>
          <a:xfrm>
            <a:off x="406575" y="4805036"/>
            <a:ext cx="3984672" cy="1446027"/>
          </a:xfrm>
          <a:prstGeom prst="parallelogram">
            <a:avLst>
              <a:gd name="adj" fmla="val 39706"/>
            </a:avLst>
          </a:prstGeom>
        </p:spPr>
        <p:txBody>
          <a:bodyPr/>
          <a:lstStyle/>
          <a:p>
            <a:endParaRPr lang="de-DE"/>
          </a:p>
        </p:txBody>
      </p:sp>
    </p:spTree>
    <p:extLst>
      <p:ext uri="{BB962C8B-B14F-4D97-AF65-F5344CB8AC3E}">
        <p14:creationId xmlns:p14="http://schemas.microsoft.com/office/powerpoint/2010/main" val="305799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dirty="0"/>
          </a:p>
        </p:txBody>
      </p:sp>
      <p:sp>
        <p:nvSpPr>
          <p:cNvPr id="2" name="Title 1"/>
          <p:cNvSpPr>
            <a:spLocks noGrp="1"/>
          </p:cNvSpPr>
          <p:nvPr>
            <p:ph type="title"/>
          </p:nvPr>
        </p:nvSpPr>
        <p:spPr bwMode="gray"/>
        <p:txBody>
          <a:bodyPr/>
          <a:lstStyle/>
          <a:p>
            <a:r>
              <a:rPr lang="de-DE"/>
              <a:t>Titelmasterformat durch Klicken bearbeiten</a:t>
            </a:r>
            <a:endParaRPr lang="en-US" dirty="0"/>
          </a:p>
        </p:txBody>
      </p:sp>
      <p:sp>
        <p:nvSpPr>
          <p:cNvPr id="4" name="Date Placeholder 3"/>
          <p:cNvSpPr>
            <a:spLocks noGrp="1"/>
          </p:cNvSpPr>
          <p:nvPr>
            <p:ph type="dt" sz="half" idx="10"/>
          </p:nvPr>
        </p:nvSpPr>
        <p:spPr bwMode="gray"/>
        <p:txBody>
          <a:bodyPr/>
          <a:lstStyle/>
          <a:p>
            <a:fld id="{55777D6D-8934-4F05-B073-67A98EFAA761}" type="datetime1">
              <a:rPr lang="en-US" smtClean="0"/>
              <a:pPr/>
              <a:t>10/10/2019</a:t>
            </a:fld>
            <a:endParaRPr lang="en-US" dirty="0"/>
          </a:p>
        </p:txBody>
      </p:sp>
      <p:sp>
        <p:nvSpPr>
          <p:cNvPr id="5" name="Footer Placeholder 4"/>
          <p:cNvSpPr>
            <a:spLocks noGrp="1"/>
          </p:cNvSpPr>
          <p:nvPr>
            <p:ph type="ftr" sz="quarter" idx="11"/>
          </p:nvPr>
        </p:nvSpPr>
        <p:spPr bwMode="gray"/>
        <p:txBody>
          <a:bodyPr/>
          <a:lstStyle/>
          <a:p>
            <a:r>
              <a:rPr lang="en-US">
                <a:solidFill>
                  <a:srgbClr val="10384F"/>
                </a:solidFill>
              </a:rPr>
              <a:t>• Digital Health Innovation • January 2018</a:t>
            </a:r>
            <a:endParaRPr lang="en-US" dirty="0">
              <a:solidFill>
                <a:srgbClr val="10384F"/>
              </a:solidFill>
            </a:endParaRP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solidFill>
                  <a:srgbClr val="00BCFF"/>
                </a:solidFill>
              </a:rPr>
              <a:pPr/>
              <a:t>‹#›</a:t>
            </a:fld>
            <a:endParaRPr lang="en-US" dirty="0">
              <a:solidFill>
                <a:srgbClr val="00BCFF"/>
              </a:solidFill>
            </a:endParaRPr>
          </a:p>
        </p:txBody>
      </p:sp>
      <p:sp>
        <p:nvSpPr>
          <p:cNvPr id="21" name="Bildplatzhalter 16"/>
          <p:cNvSpPr>
            <a:spLocks noGrp="1"/>
          </p:cNvSpPr>
          <p:nvPr>
            <p:ph type="pic" sz="quarter" idx="16"/>
          </p:nvPr>
        </p:nvSpPr>
        <p:spPr bwMode="gray">
          <a:xfrm>
            <a:off x="7313038" y="2091629"/>
            <a:ext cx="2789612" cy="238373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2673"/>
              <a:gd name="connsiteY0" fmla="*/ 22235 h 22235"/>
              <a:gd name="connsiteX1" fmla="*/ 4673 w 12673"/>
              <a:gd name="connsiteY1" fmla="*/ 0 h 22235"/>
              <a:gd name="connsiteX2" fmla="*/ 12673 w 12673"/>
              <a:gd name="connsiteY2" fmla="*/ 0 h 22235"/>
              <a:gd name="connsiteX3" fmla="*/ 10673 w 12673"/>
              <a:gd name="connsiteY3" fmla="*/ 10000 h 22235"/>
              <a:gd name="connsiteX4" fmla="*/ 0 w 12673"/>
              <a:gd name="connsiteY4" fmla="*/ 22235 h 22235"/>
              <a:gd name="connsiteX0" fmla="*/ 0 w 12673"/>
              <a:gd name="connsiteY0" fmla="*/ 22235 h 22235"/>
              <a:gd name="connsiteX1" fmla="*/ 4673 w 12673"/>
              <a:gd name="connsiteY1" fmla="*/ 0 h 22235"/>
              <a:gd name="connsiteX2" fmla="*/ 12673 w 12673"/>
              <a:gd name="connsiteY2" fmla="*/ 0 h 22235"/>
              <a:gd name="connsiteX3" fmla="*/ 8111 w 12673"/>
              <a:gd name="connsiteY3" fmla="*/ 22104 h 22235"/>
              <a:gd name="connsiteX4" fmla="*/ 0 w 1267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11 w 12593"/>
              <a:gd name="connsiteY3" fmla="*/ 22104 h 22235"/>
              <a:gd name="connsiteX4" fmla="*/ 0 w 1259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22 w 12593"/>
              <a:gd name="connsiteY3" fmla="*/ 22126 h 22235"/>
              <a:gd name="connsiteX4" fmla="*/ 0 w 12593"/>
              <a:gd name="connsiteY4" fmla="*/ 22235 h 22235"/>
              <a:gd name="connsiteX0" fmla="*/ 0 w 12572"/>
              <a:gd name="connsiteY0" fmla="*/ 22147 h 22147"/>
              <a:gd name="connsiteX1" fmla="*/ 4652 w 12572"/>
              <a:gd name="connsiteY1" fmla="*/ 0 h 22147"/>
              <a:gd name="connsiteX2" fmla="*/ 12572 w 12572"/>
              <a:gd name="connsiteY2" fmla="*/ 55 h 22147"/>
              <a:gd name="connsiteX3" fmla="*/ 8101 w 12572"/>
              <a:gd name="connsiteY3" fmla="*/ 22126 h 22147"/>
              <a:gd name="connsiteX4" fmla="*/ 0 w 12572"/>
              <a:gd name="connsiteY4" fmla="*/ 22147 h 22147"/>
              <a:gd name="connsiteX0" fmla="*/ 0 w 12572"/>
              <a:gd name="connsiteY0" fmla="*/ 22147 h 22147"/>
              <a:gd name="connsiteX1" fmla="*/ 4609 w 12572"/>
              <a:gd name="connsiteY1" fmla="*/ 0 h 22147"/>
              <a:gd name="connsiteX2" fmla="*/ 12572 w 12572"/>
              <a:gd name="connsiteY2" fmla="*/ 55 h 22147"/>
              <a:gd name="connsiteX3" fmla="*/ 8101 w 12572"/>
              <a:gd name="connsiteY3" fmla="*/ 22126 h 22147"/>
              <a:gd name="connsiteX4" fmla="*/ 0 w 12572"/>
              <a:gd name="connsiteY4" fmla="*/ 22147 h 2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 h="22147">
                <a:moveTo>
                  <a:pt x="0" y="22147"/>
                </a:moveTo>
                <a:lnTo>
                  <a:pt x="4609" y="0"/>
                </a:lnTo>
                <a:lnTo>
                  <a:pt x="12572" y="55"/>
                </a:lnTo>
                <a:lnTo>
                  <a:pt x="8101" y="22126"/>
                </a:lnTo>
                <a:lnTo>
                  <a:pt x="0" y="22147"/>
                </a:lnTo>
                <a:close/>
              </a:path>
            </a:pathLst>
          </a:custGeom>
        </p:spPr>
        <p:txBody>
          <a:bodyPr anchor="ctr"/>
          <a:lstStyle>
            <a:lvl1pPr algn="ctr">
              <a:defRPr sz="1050"/>
            </a:lvl1pPr>
          </a:lstStyle>
          <a:p>
            <a:endParaRPr lang="de-DE" dirty="0"/>
          </a:p>
        </p:txBody>
      </p:sp>
      <p:sp>
        <p:nvSpPr>
          <p:cNvPr id="22" name="Bildplatzhalter 16"/>
          <p:cNvSpPr>
            <a:spLocks noGrp="1"/>
          </p:cNvSpPr>
          <p:nvPr>
            <p:ph type="pic" sz="quarter" idx="17"/>
          </p:nvPr>
        </p:nvSpPr>
        <p:spPr bwMode="gray">
          <a:xfrm>
            <a:off x="8929522" y="2516361"/>
            <a:ext cx="2789612" cy="238373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2673"/>
              <a:gd name="connsiteY0" fmla="*/ 22235 h 22235"/>
              <a:gd name="connsiteX1" fmla="*/ 4673 w 12673"/>
              <a:gd name="connsiteY1" fmla="*/ 0 h 22235"/>
              <a:gd name="connsiteX2" fmla="*/ 12673 w 12673"/>
              <a:gd name="connsiteY2" fmla="*/ 0 h 22235"/>
              <a:gd name="connsiteX3" fmla="*/ 10673 w 12673"/>
              <a:gd name="connsiteY3" fmla="*/ 10000 h 22235"/>
              <a:gd name="connsiteX4" fmla="*/ 0 w 12673"/>
              <a:gd name="connsiteY4" fmla="*/ 22235 h 22235"/>
              <a:gd name="connsiteX0" fmla="*/ 0 w 12673"/>
              <a:gd name="connsiteY0" fmla="*/ 22235 h 22235"/>
              <a:gd name="connsiteX1" fmla="*/ 4673 w 12673"/>
              <a:gd name="connsiteY1" fmla="*/ 0 h 22235"/>
              <a:gd name="connsiteX2" fmla="*/ 12673 w 12673"/>
              <a:gd name="connsiteY2" fmla="*/ 0 h 22235"/>
              <a:gd name="connsiteX3" fmla="*/ 8111 w 12673"/>
              <a:gd name="connsiteY3" fmla="*/ 22104 h 22235"/>
              <a:gd name="connsiteX4" fmla="*/ 0 w 1267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11 w 12593"/>
              <a:gd name="connsiteY3" fmla="*/ 22104 h 22235"/>
              <a:gd name="connsiteX4" fmla="*/ 0 w 1259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22 w 12593"/>
              <a:gd name="connsiteY3" fmla="*/ 22126 h 22235"/>
              <a:gd name="connsiteX4" fmla="*/ 0 w 12593"/>
              <a:gd name="connsiteY4" fmla="*/ 22235 h 22235"/>
              <a:gd name="connsiteX0" fmla="*/ 0 w 12572"/>
              <a:gd name="connsiteY0" fmla="*/ 22147 h 22147"/>
              <a:gd name="connsiteX1" fmla="*/ 4652 w 12572"/>
              <a:gd name="connsiteY1" fmla="*/ 0 h 22147"/>
              <a:gd name="connsiteX2" fmla="*/ 12572 w 12572"/>
              <a:gd name="connsiteY2" fmla="*/ 55 h 22147"/>
              <a:gd name="connsiteX3" fmla="*/ 8101 w 12572"/>
              <a:gd name="connsiteY3" fmla="*/ 22126 h 22147"/>
              <a:gd name="connsiteX4" fmla="*/ 0 w 12572"/>
              <a:gd name="connsiteY4" fmla="*/ 22147 h 22147"/>
              <a:gd name="connsiteX0" fmla="*/ 0 w 12572"/>
              <a:gd name="connsiteY0" fmla="*/ 22147 h 22147"/>
              <a:gd name="connsiteX1" fmla="*/ 4609 w 12572"/>
              <a:gd name="connsiteY1" fmla="*/ 0 h 22147"/>
              <a:gd name="connsiteX2" fmla="*/ 12572 w 12572"/>
              <a:gd name="connsiteY2" fmla="*/ 55 h 22147"/>
              <a:gd name="connsiteX3" fmla="*/ 8101 w 12572"/>
              <a:gd name="connsiteY3" fmla="*/ 22126 h 22147"/>
              <a:gd name="connsiteX4" fmla="*/ 0 w 12572"/>
              <a:gd name="connsiteY4" fmla="*/ 22147 h 2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 h="22147">
                <a:moveTo>
                  <a:pt x="0" y="22147"/>
                </a:moveTo>
                <a:lnTo>
                  <a:pt x="4609" y="0"/>
                </a:lnTo>
                <a:lnTo>
                  <a:pt x="12572" y="55"/>
                </a:lnTo>
                <a:lnTo>
                  <a:pt x="8101" y="22126"/>
                </a:lnTo>
                <a:lnTo>
                  <a:pt x="0" y="22147"/>
                </a:lnTo>
                <a:close/>
              </a:path>
            </a:pathLst>
          </a:custGeom>
        </p:spPr>
        <p:txBody>
          <a:bodyPr anchor="ctr"/>
          <a:lstStyle>
            <a:lvl1pPr algn="ctr">
              <a:defRPr sz="1050"/>
            </a:lvl1pPr>
          </a:lstStyle>
          <a:p>
            <a:endParaRPr lang="de-DE" dirty="0"/>
          </a:p>
        </p:txBody>
      </p:sp>
      <p:sp>
        <p:nvSpPr>
          <p:cNvPr id="25" name="Bildplatzhalter 16"/>
          <p:cNvSpPr>
            <a:spLocks noGrp="1"/>
          </p:cNvSpPr>
          <p:nvPr>
            <p:ph type="pic" sz="quarter" idx="14"/>
          </p:nvPr>
        </p:nvSpPr>
        <p:spPr bwMode="gray">
          <a:xfrm>
            <a:off x="5360442" y="2516361"/>
            <a:ext cx="2789612" cy="238373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2673"/>
              <a:gd name="connsiteY0" fmla="*/ 22235 h 22235"/>
              <a:gd name="connsiteX1" fmla="*/ 4673 w 12673"/>
              <a:gd name="connsiteY1" fmla="*/ 0 h 22235"/>
              <a:gd name="connsiteX2" fmla="*/ 12673 w 12673"/>
              <a:gd name="connsiteY2" fmla="*/ 0 h 22235"/>
              <a:gd name="connsiteX3" fmla="*/ 10673 w 12673"/>
              <a:gd name="connsiteY3" fmla="*/ 10000 h 22235"/>
              <a:gd name="connsiteX4" fmla="*/ 0 w 12673"/>
              <a:gd name="connsiteY4" fmla="*/ 22235 h 22235"/>
              <a:gd name="connsiteX0" fmla="*/ 0 w 12673"/>
              <a:gd name="connsiteY0" fmla="*/ 22235 h 22235"/>
              <a:gd name="connsiteX1" fmla="*/ 4673 w 12673"/>
              <a:gd name="connsiteY1" fmla="*/ 0 h 22235"/>
              <a:gd name="connsiteX2" fmla="*/ 12673 w 12673"/>
              <a:gd name="connsiteY2" fmla="*/ 0 h 22235"/>
              <a:gd name="connsiteX3" fmla="*/ 8111 w 12673"/>
              <a:gd name="connsiteY3" fmla="*/ 22104 h 22235"/>
              <a:gd name="connsiteX4" fmla="*/ 0 w 1267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11 w 12593"/>
              <a:gd name="connsiteY3" fmla="*/ 22104 h 22235"/>
              <a:gd name="connsiteX4" fmla="*/ 0 w 1259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22 w 12593"/>
              <a:gd name="connsiteY3" fmla="*/ 22126 h 22235"/>
              <a:gd name="connsiteX4" fmla="*/ 0 w 12593"/>
              <a:gd name="connsiteY4" fmla="*/ 22235 h 22235"/>
              <a:gd name="connsiteX0" fmla="*/ 0 w 12572"/>
              <a:gd name="connsiteY0" fmla="*/ 22147 h 22147"/>
              <a:gd name="connsiteX1" fmla="*/ 4652 w 12572"/>
              <a:gd name="connsiteY1" fmla="*/ 0 h 22147"/>
              <a:gd name="connsiteX2" fmla="*/ 12572 w 12572"/>
              <a:gd name="connsiteY2" fmla="*/ 55 h 22147"/>
              <a:gd name="connsiteX3" fmla="*/ 8101 w 12572"/>
              <a:gd name="connsiteY3" fmla="*/ 22126 h 22147"/>
              <a:gd name="connsiteX4" fmla="*/ 0 w 12572"/>
              <a:gd name="connsiteY4" fmla="*/ 22147 h 22147"/>
              <a:gd name="connsiteX0" fmla="*/ 0 w 12572"/>
              <a:gd name="connsiteY0" fmla="*/ 22147 h 22147"/>
              <a:gd name="connsiteX1" fmla="*/ 4609 w 12572"/>
              <a:gd name="connsiteY1" fmla="*/ 0 h 22147"/>
              <a:gd name="connsiteX2" fmla="*/ 12572 w 12572"/>
              <a:gd name="connsiteY2" fmla="*/ 55 h 22147"/>
              <a:gd name="connsiteX3" fmla="*/ 8101 w 12572"/>
              <a:gd name="connsiteY3" fmla="*/ 22126 h 22147"/>
              <a:gd name="connsiteX4" fmla="*/ 0 w 12572"/>
              <a:gd name="connsiteY4" fmla="*/ 22147 h 2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 h="22147">
                <a:moveTo>
                  <a:pt x="0" y="22147"/>
                </a:moveTo>
                <a:lnTo>
                  <a:pt x="4609" y="0"/>
                </a:lnTo>
                <a:lnTo>
                  <a:pt x="12572" y="55"/>
                </a:lnTo>
                <a:lnTo>
                  <a:pt x="8101" y="22126"/>
                </a:lnTo>
                <a:lnTo>
                  <a:pt x="0" y="22147"/>
                </a:lnTo>
                <a:close/>
              </a:path>
            </a:pathLst>
          </a:custGeom>
        </p:spPr>
        <p:txBody>
          <a:bodyPr anchor="ctr"/>
          <a:lstStyle>
            <a:lvl1pPr algn="ctr">
              <a:defRPr sz="1050"/>
            </a:lvl1pPr>
          </a:lstStyle>
          <a:p>
            <a:endParaRPr lang="de-DE" dirty="0"/>
          </a:p>
        </p:txBody>
      </p:sp>
      <p:sp>
        <p:nvSpPr>
          <p:cNvPr id="27" name="Bildplatzhalter 16"/>
          <p:cNvSpPr>
            <a:spLocks noGrp="1"/>
          </p:cNvSpPr>
          <p:nvPr>
            <p:ph type="pic" sz="quarter" idx="15"/>
          </p:nvPr>
        </p:nvSpPr>
        <p:spPr bwMode="gray">
          <a:xfrm>
            <a:off x="3756954" y="2091629"/>
            <a:ext cx="2789612" cy="2383737"/>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2673"/>
              <a:gd name="connsiteY0" fmla="*/ 22235 h 22235"/>
              <a:gd name="connsiteX1" fmla="*/ 4673 w 12673"/>
              <a:gd name="connsiteY1" fmla="*/ 0 h 22235"/>
              <a:gd name="connsiteX2" fmla="*/ 12673 w 12673"/>
              <a:gd name="connsiteY2" fmla="*/ 0 h 22235"/>
              <a:gd name="connsiteX3" fmla="*/ 10673 w 12673"/>
              <a:gd name="connsiteY3" fmla="*/ 10000 h 22235"/>
              <a:gd name="connsiteX4" fmla="*/ 0 w 12673"/>
              <a:gd name="connsiteY4" fmla="*/ 22235 h 22235"/>
              <a:gd name="connsiteX0" fmla="*/ 0 w 12673"/>
              <a:gd name="connsiteY0" fmla="*/ 22235 h 22235"/>
              <a:gd name="connsiteX1" fmla="*/ 4673 w 12673"/>
              <a:gd name="connsiteY1" fmla="*/ 0 h 22235"/>
              <a:gd name="connsiteX2" fmla="*/ 12673 w 12673"/>
              <a:gd name="connsiteY2" fmla="*/ 0 h 22235"/>
              <a:gd name="connsiteX3" fmla="*/ 8111 w 12673"/>
              <a:gd name="connsiteY3" fmla="*/ 22104 h 22235"/>
              <a:gd name="connsiteX4" fmla="*/ 0 w 1267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11 w 12593"/>
              <a:gd name="connsiteY3" fmla="*/ 22104 h 22235"/>
              <a:gd name="connsiteX4" fmla="*/ 0 w 12593"/>
              <a:gd name="connsiteY4" fmla="*/ 22235 h 22235"/>
              <a:gd name="connsiteX0" fmla="*/ 0 w 12593"/>
              <a:gd name="connsiteY0" fmla="*/ 22235 h 22235"/>
              <a:gd name="connsiteX1" fmla="*/ 4673 w 12593"/>
              <a:gd name="connsiteY1" fmla="*/ 0 h 22235"/>
              <a:gd name="connsiteX2" fmla="*/ 12593 w 12593"/>
              <a:gd name="connsiteY2" fmla="*/ 55 h 22235"/>
              <a:gd name="connsiteX3" fmla="*/ 8122 w 12593"/>
              <a:gd name="connsiteY3" fmla="*/ 22126 h 22235"/>
              <a:gd name="connsiteX4" fmla="*/ 0 w 12593"/>
              <a:gd name="connsiteY4" fmla="*/ 22235 h 22235"/>
              <a:gd name="connsiteX0" fmla="*/ 0 w 12572"/>
              <a:gd name="connsiteY0" fmla="*/ 22147 h 22147"/>
              <a:gd name="connsiteX1" fmla="*/ 4652 w 12572"/>
              <a:gd name="connsiteY1" fmla="*/ 0 h 22147"/>
              <a:gd name="connsiteX2" fmla="*/ 12572 w 12572"/>
              <a:gd name="connsiteY2" fmla="*/ 55 h 22147"/>
              <a:gd name="connsiteX3" fmla="*/ 8101 w 12572"/>
              <a:gd name="connsiteY3" fmla="*/ 22126 h 22147"/>
              <a:gd name="connsiteX4" fmla="*/ 0 w 12572"/>
              <a:gd name="connsiteY4" fmla="*/ 22147 h 22147"/>
              <a:gd name="connsiteX0" fmla="*/ 0 w 12572"/>
              <a:gd name="connsiteY0" fmla="*/ 22147 h 22147"/>
              <a:gd name="connsiteX1" fmla="*/ 4609 w 12572"/>
              <a:gd name="connsiteY1" fmla="*/ 0 h 22147"/>
              <a:gd name="connsiteX2" fmla="*/ 12572 w 12572"/>
              <a:gd name="connsiteY2" fmla="*/ 55 h 22147"/>
              <a:gd name="connsiteX3" fmla="*/ 8101 w 12572"/>
              <a:gd name="connsiteY3" fmla="*/ 22126 h 22147"/>
              <a:gd name="connsiteX4" fmla="*/ 0 w 12572"/>
              <a:gd name="connsiteY4" fmla="*/ 22147 h 22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2" h="22147">
                <a:moveTo>
                  <a:pt x="0" y="22147"/>
                </a:moveTo>
                <a:lnTo>
                  <a:pt x="4609" y="0"/>
                </a:lnTo>
                <a:lnTo>
                  <a:pt x="12572" y="55"/>
                </a:lnTo>
                <a:lnTo>
                  <a:pt x="8101" y="22126"/>
                </a:lnTo>
                <a:lnTo>
                  <a:pt x="0" y="22147"/>
                </a:lnTo>
                <a:close/>
              </a:path>
            </a:pathLst>
          </a:custGeom>
        </p:spPr>
        <p:txBody>
          <a:bodyPr anchor="ctr"/>
          <a:lstStyle>
            <a:lvl1pPr algn="ctr">
              <a:defRPr sz="1050"/>
            </a:lvl1pPr>
          </a:lstStyle>
          <a:p>
            <a:endParaRPr lang="de-DE" dirty="0"/>
          </a:p>
        </p:txBody>
      </p:sp>
    </p:spTree>
    <p:extLst>
      <p:ext uri="{BB962C8B-B14F-4D97-AF65-F5344CB8AC3E}">
        <p14:creationId xmlns:p14="http://schemas.microsoft.com/office/powerpoint/2010/main" val="97382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6"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6678387" y="2989333"/>
            <a:ext cx="4500000"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EC4C773C-56E9-4938-AEBD-712BC038121E}" type="datetime1">
              <a:rPr lang="en-US" smtClean="0"/>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Advancing Digital /// Topic /// Date</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67840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ext Slides (customized dark)">
    <p:spTree>
      <p:nvGrpSpPr>
        <p:cNvPr id="1" name=""/>
        <p:cNvGrpSpPr/>
        <p:nvPr/>
      </p:nvGrpSpPr>
      <p:grpSpPr>
        <a:xfrm>
          <a:off x="0" y="0"/>
          <a:ext cx="0" cy="0"/>
          <a:chOff x="0" y="0"/>
          <a:chExt cx="0" cy="0"/>
        </a:xfrm>
      </p:grpSpPr>
      <p:sp>
        <p:nvSpPr>
          <p:cNvPr id="14" name="Rectangle 13"/>
          <p:cNvSpPr/>
          <p:nvPr userDrawn="1"/>
        </p:nvSpPr>
        <p:spPr bwMode="gray">
          <a:xfrm>
            <a:off x="-13588" y="4"/>
            <a:ext cx="12204001" cy="6865883"/>
          </a:xfrm>
          <a:prstGeom prst="rect">
            <a:avLst/>
          </a:prstGeom>
          <a:blipFill dpi="0" rotWithShape="1">
            <a:blip r:embed="rId2">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0" rIns="91422" bIns="45710" rtlCol="0" anchor="ctr"/>
          <a:lstStyle/>
          <a:p>
            <a:pPr algn="ctr"/>
            <a:endParaRPr lang="en-US">
              <a:solidFill>
                <a:srgbClr val="FFFFFF"/>
              </a:solidFill>
            </a:endParaRPr>
          </a:p>
        </p:txBody>
      </p:sp>
      <p:sp>
        <p:nvSpPr>
          <p:cNvPr id="3" name="Datumsplatzhalter 2"/>
          <p:cNvSpPr>
            <a:spLocks noGrp="1"/>
          </p:cNvSpPr>
          <p:nvPr>
            <p:ph type="dt" sz="half" idx="10"/>
          </p:nvPr>
        </p:nvSpPr>
        <p:spPr/>
        <p:txBody>
          <a:bodyPr/>
          <a:lstStyle/>
          <a:p>
            <a:endParaRPr lang="en-US" dirty="0"/>
          </a:p>
        </p:txBody>
      </p:sp>
      <p:sp>
        <p:nvSpPr>
          <p:cNvPr id="4" name="Fußzeilenplatzhalter 3"/>
          <p:cNvSpPr>
            <a:spLocks noGrp="1"/>
          </p:cNvSpPr>
          <p:nvPr>
            <p:ph type="ftr" sz="quarter" idx="11"/>
          </p:nvPr>
        </p:nvSpPr>
        <p:spPr/>
        <p:txBody>
          <a:bodyPr/>
          <a:lstStyle>
            <a:lvl1pPr>
              <a:defRPr>
                <a:solidFill>
                  <a:schemeClr val="bg1"/>
                </a:solidFill>
              </a:defRPr>
            </a:lvl1pPr>
          </a:lstStyle>
          <a:p>
            <a:r>
              <a:rPr lang="en-US">
                <a:solidFill>
                  <a:srgbClr val="FFFFFF"/>
                </a:solidFill>
              </a:rPr>
              <a:t>/// Advancing Innovation at Bayer /// May 2019</a:t>
            </a:r>
            <a:endParaRPr lang="en-US" dirty="0">
              <a:solidFill>
                <a:srgbClr val="FFFFFF"/>
              </a:solidFill>
            </a:endParaRP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EEAD9179-7A6B-4268-BEB2-F3B8EB06115B}" type="slidenum">
              <a:rPr lang="en-US" smtClean="0">
                <a:solidFill>
                  <a:srgbClr val="FFFFFF"/>
                </a:solidFill>
              </a:rPr>
              <a:pPr/>
              <a:t>‹#›</a:t>
            </a:fld>
            <a:endParaRPr lang="en-US" dirty="0">
              <a:solidFill>
                <a:srgbClr val="FFFFFF"/>
              </a:solidFill>
            </a:endParaRPr>
          </a:p>
        </p:txBody>
      </p:sp>
      <p:sp>
        <p:nvSpPr>
          <p:cNvPr id="11" name="Text Placeholder 10"/>
          <p:cNvSpPr>
            <a:spLocks noGrp="1"/>
          </p:cNvSpPr>
          <p:nvPr>
            <p:ph type="body" sz="quarter" idx="14"/>
          </p:nvPr>
        </p:nvSpPr>
        <p:spPr bwMode="gray">
          <a:xfrm>
            <a:off x="982663" y="1732751"/>
            <a:ext cx="10797618" cy="475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pic>
        <p:nvPicPr>
          <p:cNvPr id="12" name="Picture 2" descr="\\nas-mainz\Projekte_vertraulich\Bayer\17-0612_Fischer_CI-Redesign\vom Kunden\Bayer_Cross_2017_REV-White_on-Screen_RGB_170630.wmf">
            <a:extLst>
              <a:ext uri="{FF2B5EF4-FFF2-40B4-BE49-F238E27FC236}">
                <a16:creationId xmlns:a16="http://schemas.microsoft.com/office/drawing/2014/main" xmlns="" id="{116CC821-8EF5-46C9-B923-CF77182D32A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193463" y="617158"/>
            <a:ext cx="399641" cy="399641"/>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noGrp="1"/>
          </p:cNvSpPr>
          <p:nvPr>
            <p:ph type="title"/>
          </p:nvPr>
        </p:nvSpPr>
        <p:spPr bwMode="gray">
          <a:xfrm>
            <a:off x="982666" y="439113"/>
            <a:ext cx="10797617" cy="864000"/>
          </a:xfrm>
        </p:spPr>
        <p:txBody>
          <a:bodyPr/>
          <a:lstStyle>
            <a:lvl1pPr>
              <a:defRPr>
                <a:solidFill>
                  <a:schemeClr val="bg1"/>
                </a:solidFill>
              </a:defRPr>
            </a:lvl1pPr>
          </a:lstStyle>
          <a:p>
            <a:r>
              <a:rPr lang="de-DE" dirty="0"/>
              <a:t>Titelmasterformat durch Klicken bearbeiten</a:t>
            </a:r>
            <a:endParaRPr lang="en-US" dirty="0"/>
          </a:p>
        </p:txBody>
      </p:sp>
    </p:spTree>
    <p:extLst>
      <p:ext uri="{BB962C8B-B14F-4D97-AF65-F5344CB8AC3E}">
        <p14:creationId xmlns:p14="http://schemas.microsoft.com/office/powerpoint/2010/main" val="153446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dirty="0" err="1"/>
          </a:p>
        </p:txBody>
      </p:sp>
      <p:sp>
        <p:nvSpPr>
          <p:cNvPr id="2" name="Title 1"/>
          <p:cNvSpPr>
            <a:spLocks noGrp="1"/>
          </p:cNvSpPr>
          <p:nvPr>
            <p:ph type="title"/>
          </p:nvPr>
        </p:nvSpPr>
        <p:spPr bwMode="black">
          <a:xfrm>
            <a:off x="4854344" y="1462158"/>
            <a:ext cx="4500000"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E309FE29-4079-4042-82D4-30F65321BBEB}" type="datetime1">
              <a:rPr lang="en-US" smtClean="0"/>
              <a:t>10/10/2019</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dirty="0"/>
              <a:t>/// Advancing Digital /// Topic /// Date</a:t>
            </a:r>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a:t>
            </a:fld>
            <a:endParaRPr lang="en-US" dirty="0"/>
          </a:p>
        </p:txBody>
      </p:sp>
      <p:sp>
        <p:nvSpPr>
          <p:cNvPr id="48" name="Subtitle 2"/>
          <p:cNvSpPr>
            <a:spLocks noGrp="1"/>
          </p:cNvSpPr>
          <p:nvPr>
            <p:ph type="subTitle" idx="1"/>
          </p:nvPr>
        </p:nvSpPr>
        <p:spPr bwMode="black">
          <a:xfrm>
            <a:off x="7055681"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2"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6925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76166E1B-5D18-476A-8C5F-E90A4ECE4845}" type="datetime1">
              <a:rPr lang="en-US" smtClean="0"/>
              <a:t>10/10/2019</a:t>
            </a:fld>
            <a:endParaRPr lang="en-US" dirty="0"/>
          </a:p>
        </p:txBody>
      </p:sp>
      <p:sp>
        <p:nvSpPr>
          <p:cNvPr id="5" name="Footer Placeholder 4"/>
          <p:cNvSpPr>
            <a:spLocks noGrp="1"/>
          </p:cNvSpPr>
          <p:nvPr>
            <p:ph type="ftr" sz="quarter" idx="11"/>
          </p:nvPr>
        </p:nvSpPr>
        <p:spPr bwMode="gray"/>
        <p:txBody>
          <a:bodyPr/>
          <a:lstStyle/>
          <a:p>
            <a:r>
              <a:rPr lang="en-US" dirty="0"/>
              <a:t>/// Advancing Digital /// Topic /// Dat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820" y="1732751"/>
            <a:ext cx="10798461"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0318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0" y="1138299"/>
            <a:ext cx="10798461"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EEDDFC53-89AB-4BE8-8EEE-3EC422BCF930}" type="datetime1">
              <a:rPr lang="en-US" smtClean="0"/>
              <a:t>10/10/2019</a:t>
            </a:fld>
            <a:endParaRPr lang="en-US" dirty="0"/>
          </a:p>
        </p:txBody>
      </p:sp>
      <p:sp>
        <p:nvSpPr>
          <p:cNvPr id="5" name="Footer Placeholder 4"/>
          <p:cNvSpPr>
            <a:spLocks noGrp="1"/>
          </p:cNvSpPr>
          <p:nvPr>
            <p:ph type="ftr" sz="quarter" idx="11"/>
          </p:nvPr>
        </p:nvSpPr>
        <p:spPr bwMode="gray"/>
        <p:txBody>
          <a:bodyPr/>
          <a:lstStyle/>
          <a:p>
            <a:r>
              <a:rPr lang="en-US" dirty="0"/>
              <a:t>/// Advancing Digital /// Topic /// Date</a:t>
            </a:r>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a:t>
            </a:fld>
            <a:endParaRPr lang="en-US" dirty="0"/>
          </a:p>
        </p:txBody>
      </p:sp>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gray">
          <a:xfrm>
            <a:off x="196104"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820"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59603" y="1732750"/>
            <a:ext cx="522000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06" y="509323"/>
            <a:ext cx="61200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2984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6" pos="74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4.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3.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2.png"/><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16.wmf"/><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17.emf"/><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image" Target="../media/image3.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oleObject" Target="../embeddings/oleObject1.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ags" Target="../tags/tag19.xml"/><Relationship Id="rId28" Type="http://schemas.openxmlformats.org/officeDocument/2006/relationships/image" Target="../media/image2.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vmlDrawing" Target="../drawings/vmlDrawing1.vml"/><Relationship Id="rId27" Type="http://schemas.openxmlformats.org/officeDocument/2006/relationships/image" Target="../media/image1.png"/><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1" y="1732751"/>
            <a:ext cx="10800000" cy="47520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67D9247B-7051-4DBD-8540-3BFDAC611952}" type="datetime1">
              <a:rPr lang="en-US" smtClean="0"/>
              <a:t>10/10/2019</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en-US" dirty="0"/>
              <a:t>/// Advancing Digital /// Topic /// Date</a:t>
            </a: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a:t>
            </a:fld>
            <a:endParaRPr lang="en-US" dirty="0"/>
          </a:p>
        </p:txBody>
      </p:sp>
      <p:sp>
        <p:nvSpPr>
          <p:cNvPr id="7" name="empower - DO NOT DELETE!!!" hidden="1"/>
          <p:cNvSpPr/>
          <p:nvPr>
            <p:custDataLst>
              <p:tags r:id="rId22"/>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456129"/>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3" r:id="rId17"/>
    <p:sldLayoutId id="2147484378" r:id="rId18"/>
    <p:sldLayoutId id="2147484388" r:id="rId19"/>
    <p:sldLayoutId id="2147484498"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5"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pPr defTabSz="914388"/>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pPr defTabSz="914388"/>
            <a:r>
              <a:rPr lang="en-US">
                <a:solidFill>
                  <a:srgbClr val="10384F"/>
                </a:solidFill>
              </a:rPr>
              <a:t>/// Advancing Innovation at Bayer /// May 2019</a:t>
            </a:r>
            <a:endParaRPr lang="en-US" dirty="0">
              <a:solidFill>
                <a:srgbClr val="10384F"/>
              </a:solidFill>
            </a:endParaRP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defTabSz="914388"/>
            <a:fld id="{EEAD9179-7A6B-4268-BEB2-F3B8EB06115B}" type="slidenum">
              <a:rPr lang="en-US" smtClean="0">
                <a:solidFill>
                  <a:srgbClr val="00BCFF"/>
                </a:solidFill>
              </a:rPr>
              <a:pPr defTabSz="914388"/>
              <a:t>‹#›</a:t>
            </a:fld>
            <a:endParaRPr lang="en-US" dirty="0">
              <a:solidFill>
                <a:srgbClr val="00BCFF"/>
              </a:solidFill>
            </a:endParaRPr>
          </a:p>
        </p:txBody>
      </p:sp>
    </p:spTree>
    <p:extLst>
      <p:ext uri="{BB962C8B-B14F-4D97-AF65-F5344CB8AC3E}">
        <p14:creationId xmlns:p14="http://schemas.microsoft.com/office/powerpoint/2010/main" val="2443356110"/>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88"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388"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69996" indent="-269996" algn="l" defTabSz="914388" rtl="0" eaLnBrk="1" latinLnBrk="0" hangingPunct="1">
        <a:spcBef>
          <a:spcPts val="300"/>
        </a:spcBef>
        <a:spcAft>
          <a:spcPts val="600"/>
        </a:spcAft>
        <a:buFontTx/>
        <a:buBlip>
          <a:blip r:embed="rId22"/>
        </a:buBlip>
        <a:defRPr sz="1800" kern="1200">
          <a:solidFill>
            <a:schemeClr val="tx1"/>
          </a:solidFill>
          <a:latin typeface="+mn-lt"/>
          <a:ea typeface="+mn-ea"/>
          <a:cs typeface="+mn-cs"/>
        </a:defRPr>
      </a:lvl2pPr>
      <a:lvl3pPr marL="539992" indent="-269996" algn="l" defTabSz="914388" rtl="0" eaLnBrk="1" latinLnBrk="0" hangingPunct="1">
        <a:spcBef>
          <a:spcPts val="300"/>
        </a:spcBef>
        <a:spcAft>
          <a:spcPts val="600"/>
        </a:spcAft>
        <a:buFontTx/>
        <a:buBlip>
          <a:blip r:embed="rId23"/>
        </a:buBlip>
        <a:defRPr sz="1800" kern="1200">
          <a:solidFill>
            <a:schemeClr val="tx1"/>
          </a:solidFill>
          <a:latin typeface="+mn-lt"/>
          <a:ea typeface="+mn-ea"/>
          <a:cs typeface="+mn-cs"/>
        </a:defRPr>
      </a:lvl3pPr>
      <a:lvl4pPr marL="809988" indent="-269996" algn="l" defTabSz="914388" rtl="0" eaLnBrk="1" latinLnBrk="0" hangingPunct="1">
        <a:spcBef>
          <a:spcPts val="300"/>
        </a:spcBef>
        <a:spcAft>
          <a:spcPts val="600"/>
        </a:spcAft>
        <a:buFontTx/>
        <a:buBlip>
          <a:blip r:embed="rId24"/>
        </a:buBlip>
        <a:defRPr sz="1800" kern="1200">
          <a:solidFill>
            <a:schemeClr val="tx1"/>
          </a:solidFill>
          <a:latin typeface="+mn-lt"/>
          <a:ea typeface="+mn-ea"/>
          <a:cs typeface="+mn-cs"/>
        </a:defRPr>
      </a:lvl4pPr>
      <a:lvl5pPr marL="1079984" indent="-269996" algn="l" defTabSz="914388" rtl="0" eaLnBrk="1" latinLnBrk="0" hangingPunct="1">
        <a:spcBef>
          <a:spcPts val="300"/>
        </a:spcBef>
        <a:spcAft>
          <a:spcPts val="600"/>
        </a:spcAft>
        <a:buFontTx/>
        <a:buBlip>
          <a:blip r:embed="rId25"/>
        </a:buBlip>
        <a:defRPr sz="1800" kern="1200">
          <a:solidFill>
            <a:schemeClr val="tx1"/>
          </a:solidFill>
          <a:latin typeface="+mn-lt"/>
          <a:ea typeface="+mn-ea"/>
          <a:cs typeface="+mn-cs"/>
        </a:defRPr>
      </a:lvl5pPr>
      <a:lvl6pPr marL="1079984" indent="-269996" algn="l" defTabSz="914388" rtl="0" eaLnBrk="1" latinLnBrk="0" hangingPunct="1">
        <a:spcBef>
          <a:spcPts val="300"/>
        </a:spcBef>
        <a:spcAft>
          <a:spcPts val="600"/>
        </a:spcAft>
        <a:buFontTx/>
        <a:buBlip>
          <a:blip r:embed="rId25"/>
        </a:buBlip>
        <a:defRPr sz="1800" kern="1200">
          <a:solidFill>
            <a:schemeClr val="tx1"/>
          </a:solidFill>
          <a:latin typeface="+mn-lt"/>
          <a:ea typeface="+mn-ea"/>
          <a:cs typeface="+mn-cs"/>
        </a:defRPr>
      </a:lvl6pPr>
      <a:lvl7pPr marL="1079984" indent="-269996" algn="l" defTabSz="914388" rtl="0" eaLnBrk="1" latinLnBrk="0" hangingPunct="1">
        <a:spcBef>
          <a:spcPts val="300"/>
        </a:spcBef>
        <a:spcAft>
          <a:spcPts val="600"/>
        </a:spcAft>
        <a:buFontTx/>
        <a:buBlip>
          <a:blip r:embed="rId25"/>
        </a:buBlip>
        <a:defRPr sz="1800" kern="1200">
          <a:solidFill>
            <a:schemeClr val="tx1"/>
          </a:solidFill>
          <a:latin typeface="+mn-lt"/>
          <a:ea typeface="+mn-ea"/>
          <a:cs typeface="+mn-cs"/>
        </a:defRPr>
      </a:lvl7pPr>
      <a:lvl8pPr marL="1079984" indent="-269996" algn="l" defTabSz="914388" rtl="0" eaLnBrk="1" latinLnBrk="0" hangingPunct="1">
        <a:spcBef>
          <a:spcPts val="300"/>
        </a:spcBef>
        <a:spcAft>
          <a:spcPts val="600"/>
        </a:spcAft>
        <a:buFontTx/>
        <a:buBlip>
          <a:blip r:embed="rId25"/>
        </a:buBlip>
        <a:defRPr sz="1800" kern="1200">
          <a:solidFill>
            <a:schemeClr val="tx1"/>
          </a:solidFill>
          <a:latin typeface="+mn-lt"/>
          <a:ea typeface="+mn-ea"/>
          <a:cs typeface="+mn-cs"/>
        </a:defRPr>
      </a:lvl8pPr>
      <a:lvl9pPr marL="1079984" indent="-269996" algn="l" defTabSz="914388" rtl="0" eaLnBrk="1" latinLnBrk="0" hangingPunct="1">
        <a:spcBef>
          <a:spcPts val="300"/>
        </a:spcBef>
        <a:spcAft>
          <a:spcPts val="600"/>
        </a:spcAft>
        <a:buFontTx/>
        <a:buBlip>
          <a:blip r:embed="rId25"/>
        </a:buBlip>
        <a:defRPr sz="1800" kern="1200">
          <a:solidFill>
            <a:schemeClr val="tx1"/>
          </a:solidFill>
          <a:latin typeface="+mn-lt"/>
          <a:ea typeface="+mn-ea"/>
          <a:cs typeface="+mn-cs"/>
        </a:defRPr>
      </a:lvl9pPr>
    </p:bodyStyle>
    <p:otherStyle>
      <a:defPPr>
        <a:defRPr lang="de-DE"/>
      </a:defPPr>
      <a:lvl1pPr marL="0" algn="l" defTabSz="914388" rtl="0" eaLnBrk="1" latinLnBrk="0" hangingPunct="1">
        <a:defRPr sz="1800" kern="1200">
          <a:solidFill>
            <a:schemeClr val="tx1"/>
          </a:solidFill>
          <a:latin typeface="+mn-lt"/>
          <a:ea typeface="+mn-ea"/>
          <a:cs typeface="+mn-cs"/>
        </a:defRPr>
      </a:lvl1pPr>
      <a:lvl2pPr marL="457192" algn="l" defTabSz="914388" rtl="0" eaLnBrk="1" latinLnBrk="0" hangingPunct="1">
        <a:defRPr sz="1800" kern="1200">
          <a:solidFill>
            <a:schemeClr val="tx1"/>
          </a:solidFill>
          <a:latin typeface="+mn-lt"/>
          <a:ea typeface="+mn-ea"/>
          <a:cs typeface="+mn-cs"/>
        </a:defRPr>
      </a:lvl2pPr>
      <a:lvl3pPr marL="914388" algn="l" defTabSz="914388" rtl="0" eaLnBrk="1" latinLnBrk="0" hangingPunct="1">
        <a:defRPr sz="1800" kern="1200">
          <a:solidFill>
            <a:schemeClr val="tx1"/>
          </a:solidFill>
          <a:latin typeface="+mn-lt"/>
          <a:ea typeface="+mn-ea"/>
          <a:cs typeface="+mn-cs"/>
        </a:defRPr>
      </a:lvl3pPr>
      <a:lvl4pPr marL="1371576" algn="l" defTabSz="914388" rtl="0" eaLnBrk="1" latinLnBrk="0" hangingPunct="1">
        <a:defRPr sz="1800" kern="1200">
          <a:solidFill>
            <a:schemeClr val="tx1"/>
          </a:solidFill>
          <a:latin typeface="+mn-lt"/>
          <a:ea typeface="+mn-ea"/>
          <a:cs typeface="+mn-cs"/>
        </a:defRPr>
      </a:lvl4pPr>
      <a:lvl5pPr marL="1828772" algn="l" defTabSz="914388" rtl="0" eaLnBrk="1" latinLnBrk="0" hangingPunct="1">
        <a:defRPr sz="1800" kern="1200">
          <a:solidFill>
            <a:schemeClr val="tx1"/>
          </a:solidFill>
          <a:latin typeface="+mn-lt"/>
          <a:ea typeface="+mn-ea"/>
          <a:cs typeface="+mn-cs"/>
        </a:defRPr>
      </a:lvl5pPr>
      <a:lvl6pPr marL="2285964" algn="l" defTabSz="914388" rtl="0" eaLnBrk="1" latinLnBrk="0" hangingPunct="1">
        <a:defRPr sz="1800" kern="1200">
          <a:solidFill>
            <a:schemeClr val="tx1"/>
          </a:solidFill>
          <a:latin typeface="+mn-lt"/>
          <a:ea typeface="+mn-ea"/>
          <a:cs typeface="+mn-cs"/>
        </a:defRPr>
      </a:lvl6pPr>
      <a:lvl7pPr marL="2743156" algn="l" defTabSz="914388" rtl="0" eaLnBrk="1" latinLnBrk="0" hangingPunct="1">
        <a:defRPr sz="1800" kern="1200">
          <a:solidFill>
            <a:schemeClr val="tx1"/>
          </a:solidFill>
          <a:latin typeface="+mn-lt"/>
          <a:ea typeface="+mn-ea"/>
          <a:cs typeface="+mn-cs"/>
        </a:defRPr>
      </a:lvl7pPr>
      <a:lvl8pPr marL="3200348" algn="l" defTabSz="914388" rtl="0" eaLnBrk="1" latinLnBrk="0" hangingPunct="1">
        <a:defRPr sz="1800" kern="1200">
          <a:solidFill>
            <a:schemeClr val="tx1"/>
          </a:solidFill>
          <a:latin typeface="+mn-lt"/>
          <a:ea typeface="+mn-ea"/>
          <a:cs typeface="+mn-cs"/>
        </a:defRPr>
      </a:lvl8pPr>
      <a:lvl9pPr marL="3657540" algn="l" defTabSz="91438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3"/>
            </p:custDataLst>
            <p:extLst>
              <p:ext uri="{D42A27DB-BD31-4B8C-83A1-F6EECF244321}">
                <p14:modId xmlns:p14="http://schemas.microsoft.com/office/powerpoint/2010/main" val="232657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4" name="think-cell Folie" r:id="rId24" imgW="270" imgH="270" progId="TCLayout.ActiveDocument.1">
                  <p:embed/>
                </p:oleObj>
              </mc:Choice>
              <mc:Fallback>
                <p:oleObj name="think-cell Foli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bwMode="gray">
          <a:xfrm>
            <a:off x="980286" y="1732751"/>
            <a:ext cx="10800000"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Placeholder 1"/>
          <p:cNvSpPr>
            <a:spLocks noGrp="1"/>
          </p:cNvSpPr>
          <p:nvPr>
            <p:ph type="title"/>
          </p:nvPr>
        </p:nvSpPr>
        <p:spPr bwMode="gray">
          <a:xfrm>
            <a:off x="981821" y="181938"/>
            <a:ext cx="10798460" cy="864000"/>
          </a:xfrm>
          <a:prstGeom prst="rect">
            <a:avLst/>
          </a:prstGeom>
        </p:spPr>
        <p:txBody>
          <a:bodyPr vert="horz" lIns="0" tIns="0" rIns="0" bIns="0" rtlCol="0" anchor="b">
            <a:noAutofit/>
          </a:bodyPr>
          <a:lstStyle/>
          <a:p>
            <a:r>
              <a:rPr lang="de-DE"/>
              <a:t>Titelmasterformat durch Klicken bearbeiten</a:t>
            </a:r>
            <a:endParaRPr lang="en-US" dirty="0"/>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pPr defTabSz="914385"/>
            <a:fld id="{C8305568-6DAB-4CAB-8939-35EBC939A94E}" type="datetime1">
              <a:rPr lang="en-US" smtClean="0"/>
              <a:pPr defTabSz="914385"/>
              <a:t>10/10/2019</a:t>
            </a:fld>
            <a:endParaRPr lang="en-US" dirty="0"/>
          </a:p>
        </p:txBody>
      </p:sp>
      <p:sp>
        <p:nvSpPr>
          <p:cNvPr id="5" name="Footer Placeholder 4"/>
          <p:cNvSpPr>
            <a:spLocks noGrp="1"/>
          </p:cNvSpPr>
          <p:nvPr>
            <p:ph type="ftr" sz="quarter" idx="3"/>
          </p:nvPr>
        </p:nvSpPr>
        <p:spPr bwMode="gray">
          <a:xfrm>
            <a:off x="974672" y="6617933"/>
            <a:ext cx="8640000"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pPr defTabSz="914385"/>
            <a:r>
              <a:rPr lang="en-US">
                <a:solidFill>
                  <a:srgbClr val="10384F"/>
                </a:solidFill>
              </a:rPr>
              <a:t>/// Bayer 16:9 Template /// November 2017</a:t>
            </a:r>
            <a:endParaRPr lang="en-US" dirty="0">
              <a:solidFill>
                <a:srgbClr val="10384F"/>
              </a:solidFill>
            </a:endParaRPr>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defTabSz="914385"/>
            <a:fld id="{EEAD9179-7A6B-4268-BEB2-F3B8EB06115B}" type="slidenum">
              <a:rPr lang="en-US" smtClean="0">
                <a:solidFill>
                  <a:srgbClr val="00BCFF"/>
                </a:solidFill>
              </a:rPr>
              <a:pPr defTabSz="914385"/>
              <a:t>‹#›</a:t>
            </a:fld>
            <a:endParaRPr lang="en-US" dirty="0">
              <a:solidFill>
                <a:srgbClr val="00BCFF"/>
              </a:solidFill>
            </a:endParaRPr>
          </a:p>
        </p:txBody>
      </p:sp>
      <p:pic>
        <p:nvPicPr>
          <p:cNvPr id="8" name="Picture 2" descr="\\nas-mainz\Projekte_vertraulich\Bayer\17-0612_Fischer_CI-Redesign\vom Kunden\Bayer_Cross_2017_on-Screen_RGB_170630.wmf"/>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735589"/>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 id="2147484463" r:id="rId11"/>
    <p:sldLayoutId id="2147484464" r:id="rId12"/>
    <p:sldLayoutId id="2147484465" r:id="rId13"/>
    <p:sldLayoutId id="2147484466" r:id="rId14"/>
    <p:sldLayoutId id="2147484467" r:id="rId15"/>
    <p:sldLayoutId id="2147484468" r:id="rId16"/>
    <p:sldLayoutId id="2147484469" r:id="rId17"/>
    <p:sldLayoutId id="2147484470" r:id="rId18"/>
    <p:sldLayoutId id="2147484471" r:id="rId19"/>
    <p:sldLayoutId id="2147484493"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85"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385"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69995" indent="-269995" algn="l" defTabSz="914385" rtl="0" eaLnBrk="1" latinLnBrk="0" hangingPunct="1">
        <a:spcBef>
          <a:spcPts val="300"/>
        </a:spcBef>
        <a:spcAft>
          <a:spcPts val="600"/>
        </a:spcAft>
        <a:buFontTx/>
        <a:buBlip>
          <a:blip r:embed="rId27"/>
        </a:buBlip>
        <a:defRPr sz="1800" kern="1200">
          <a:solidFill>
            <a:schemeClr val="tx1"/>
          </a:solidFill>
          <a:latin typeface="+mn-lt"/>
          <a:ea typeface="+mn-ea"/>
          <a:cs typeface="+mn-cs"/>
        </a:defRPr>
      </a:lvl2pPr>
      <a:lvl3pPr marL="539990" indent="-269995" algn="l" defTabSz="914385" rtl="0" eaLnBrk="1" latinLnBrk="0" hangingPunct="1">
        <a:spcBef>
          <a:spcPts val="300"/>
        </a:spcBef>
        <a:spcAft>
          <a:spcPts val="600"/>
        </a:spcAft>
        <a:buFontTx/>
        <a:buBlip>
          <a:blip r:embed="rId28"/>
        </a:buBlip>
        <a:defRPr sz="1800" kern="1200">
          <a:solidFill>
            <a:schemeClr val="tx1"/>
          </a:solidFill>
          <a:latin typeface="+mn-lt"/>
          <a:ea typeface="+mn-ea"/>
          <a:cs typeface="+mn-cs"/>
        </a:defRPr>
      </a:lvl3pPr>
      <a:lvl4pPr marL="809985" indent="-269995" algn="l" defTabSz="914385" rtl="0" eaLnBrk="1" latinLnBrk="0" hangingPunct="1">
        <a:spcBef>
          <a:spcPts val="300"/>
        </a:spcBef>
        <a:spcAft>
          <a:spcPts val="600"/>
        </a:spcAft>
        <a:buFontTx/>
        <a:buBlip>
          <a:blip r:embed="rId29"/>
        </a:buBlip>
        <a:defRPr sz="1800" kern="1200">
          <a:solidFill>
            <a:schemeClr val="tx1"/>
          </a:solidFill>
          <a:latin typeface="+mn-lt"/>
          <a:ea typeface="+mn-ea"/>
          <a:cs typeface="+mn-cs"/>
        </a:defRPr>
      </a:lvl4pPr>
      <a:lvl5pPr marL="1079980" indent="-269995" algn="l" defTabSz="914385" rtl="0" eaLnBrk="1" latinLnBrk="0" hangingPunct="1">
        <a:spcBef>
          <a:spcPts val="300"/>
        </a:spcBef>
        <a:spcAft>
          <a:spcPts val="600"/>
        </a:spcAft>
        <a:buFontTx/>
        <a:buBlip>
          <a:blip r:embed="rId30"/>
        </a:buBlip>
        <a:defRPr sz="1800" kern="1200">
          <a:solidFill>
            <a:schemeClr val="tx1"/>
          </a:solidFill>
          <a:latin typeface="+mn-lt"/>
          <a:ea typeface="+mn-ea"/>
          <a:cs typeface="+mn-cs"/>
        </a:defRPr>
      </a:lvl5pPr>
      <a:lvl6pPr marL="1079980" indent="-269995" algn="l" defTabSz="914385" rtl="0" eaLnBrk="1" latinLnBrk="0" hangingPunct="1">
        <a:spcBef>
          <a:spcPts val="300"/>
        </a:spcBef>
        <a:spcAft>
          <a:spcPts val="600"/>
        </a:spcAft>
        <a:buFontTx/>
        <a:buBlip>
          <a:blip r:embed="rId30"/>
        </a:buBlip>
        <a:defRPr sz="1800" kern="1200">
          <a:solidFill>
            <a:schemeClr val="tx1"/>
          </a:solidFill>
          <a:latin typeface="+mn-lt"/>
          <a:ea typeface="+mn-ea"/>
          <a:cs typeface="+mn-cs"/>
        </a:defRPr>
      </a:lvl6pPr>
      <a:lvl7pPr marL="1079980" indent="-269995" algn="l" defTabSz="914385" rtl="0" eaLnBrk="1" latinLnBrk="0" hangingPunct="1">
        <a:spcBef>
          <a:spcPts val="300"/>
        </a:spcBef>
        <a:spcAft>
          <a:spcPts val="600"/>
        </a:spcAft>
        <a:buFontTx/>
        <a:buBlip>
          <a:blip r:embed="rId30"/>
        </a:buBlip>
        <a:defRPr sz="1800" kern="1200">
          <a:solidFill>
            <a:schemeClr val="tx1"/>
          </a:solidFill>
          <a:latin typeface="+mn-lt"/>
          <a:ea typeface="+mn-ea"/>
          <a:cs typeface="+mn-cs"/>
        </a:defRPr>
      </a:lvl7pPr>
      <a:lvl8pPr marL="1079980" indent="-269995" algn="l" defTabSz="914385" rtl="0" eaLnBrk="1" latinLnBrk="0" hangingPunct="1">
        <a:spcBef>
          <a:spcPts val="300"/>
        </a:spcBef>
        <a:spcAft>
          <a:spcPts val="600"/>
        </a:spcAft>
        <a:buFontTx/>
        <a:buBlip>
          <a:blip r:embed="rId30"/>
        </a:buBlip>
        <a:defRPr sz="1800" kern="1200">
          <a:solidFill>
            <a:schemeClr val="tx1"/>
          </a:solidFill>
          <a:latin typeface="+mn-lt"/>
          <a:ea typeface="+mn-ea"/>
          <a:cs typeface="+mn-cs"/>
        </a:defRPr>
      </a:lvl8pPr>
      <a:lvl9pPr marL="1079980" indent="-269995" algn="l" defTabSz="914385" rtl="0" eaLnBrk="1" latinLnBrk="0" hangingPunct="1">
        <a:spcBef>
          <a:spcPts val="300"/>
        </a:spcBef>
        <a:spcAft>
          <a:spcPts val="600"/>
        </a:spcAft>
        <a:buFontTx/>
        <a:buBlip>
          <a:blip r:embed="rId30"/>
        </a:buBlip>
        <a:defRPr sz="1800" kern="1200">
          <a:solidFill>
            <a:schemeClr val="tx1"/>
          </a:solidFill>
          <a:latin typeface="+mn-lt"/>
          <a:ea typeface="+mn-ea"/>
          <a:cs typeface="+mn-cs"/>
        </a:defRPr>
      </a:lvl9pPr>
    </p:bodyStyle>
    <p:otherStyle>
      <a:defPPr>
        <a:defRPr lang="de-DE"/>
      </a:defPPr>
      <a:lvl1pPr marL="0" algn="l" defTabSz="914385" rtl="0" eaLnBrk="1" latinLnBrk="0" hangingPunct="1">
        <a:defRPr sz="1800" kern="1200">
          <a:solidFill>
            <a:schemeClr val="tx1"/>
          </a:solidFill>
          <a:latin typeface="+mn-lt"/>
          <a:ea typeface="+mn-ea"/>
          <a:cs typeface="+mn-cs"/>
        </a:defRPr>
      </a:lvl1pPr>
      <a:lvl2pPr marL="457190" algn="l" defTabSz="914385" rtl="0" eaLnBrk="1" latinLnBrk="0" hangingPunct="1">
        <a:defRPr sz="1800" kern="1200">
          <a:solidFill>
            <a:schemeClr val="tx1"/>
          </a:solidFill>
          <a:latin typeface="+mn-lt"/>
          <a:ea typeface="+mn-ea"/>
          <a:cs typeface="+mn-cs"/>
        </a:defRPr>
      </a:lvl2pPr>
      <a:lvl3pPr marL="914385" algn="l" defTabSz="914385" rtl="0" eaLnBrk="1" latinLnBrk="0" hangingPunct="1">
        <a:defRPr sz="1800" kern="1200">
          <a:solidFill>
            <a:schemeClr val="tx1"/>
          </a:solidFill>
          <a:latin typeface="+mn-lt"/>
          <a:ea typeface="+mn-ea"/>
          <a:cs typeface="+mn-cs"/>
        </a:defRPr>
      </a:lvl3pPr>
      <a:lvl4pPr marL="1371570" algn="l" defTabSz="914385" rtl="0" eaLnBrk="1" latinLnBrk="0" hangingPunct="1">
        <a:defRPr sz="1800" kern="1200">
          <a:solidFill>
            <a:schemeClr val="tx1"/>
          </a:solidFill>
          <a:latin typeface="+mn-lt"/>
          <a:ea typeface="+mn-ea"/>
          <a:cs typeface="+mn-cs"/>
        </a:defRPr>
      </a:lvl4pPr>
      <a:lvl5pPr marL="1828765" algn="l" defTabSz="914385" rtl="0" eaLnBrk="1" latinLnBrk="0" hangingPunct="1">
        <a:defRPr sz="1800" kern="1200">
          <a:solidFill>
            <a:schemeClr val="tx1"/>
          </a:solidFill>
          <a:latin typeface="+mn-lt"/>
          <a:ea typeface="+mn-ea"/>
          <a:cs typeface="+mn-cs"/>
        </a:defRPr>
      </a:lvl5pPr>
      <a:lvl6pPr marL="2285955" algn="l" defTabSz="914385" rtl="0" eaLnBrk="1" latinLnBrk="0" hangingPunct="1">
        <a:defRPr sz="1800" kern="1200">
          <a:solidFill>
            <a:schemeClr val="tx1"/>
          </a:solidFill>
          <a:latin typeface="+mn-lt"/>
          <a:ea typeface="+mn-ea"/>
          <a:cs typeface="+mn-cs"/>
        </a:defRPr>
      </a:lvl6pPr>
      <a:lvl7pPr marL="2743145" algn="l" defTabSz="914385" rtl="0" eaLnBrk="1" latinLnBrk="0" hangingPunct="1">
        <a:defRPr sz="1800" kern="1200">
          <a:solidFill>
            <a:schemeClr val="tx1"/>
          </a:solidFill>
          <a:latin typeface="+mn-lt"/>
          <a:ea typeface="+mn-ea"/>
          <a:cs typeface="+mn-cs"/>
        </a:defRPr>
      </a:lvl7pPr>
      <a:lvl8pPr marL="3200336" algn="l" defTabSz="914385" rtl="0" eaLnBrk="1" latinLnBrk="0" hangingPunct="1">
        <a:defRPr sz="1800" kern="1200">
          <a:solidFill>
            <a:schemeClr val="tx1"/>
          </a:solidFill>
          <a:latin typeface="+mn-lt"/>
          <a:ea typeface="+mn-ea"/>
          <a:cs typeface="+mn-cs"/>
        </a:defRPr>
      </a:lvl8pPr>
      <a:lvl9pPr marL="3657525" algn="l" defTabSz="91438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jpeg"/></Relationships>
</file>

<file path=ppt/slides/_rels/slide10.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tags" Target="../tags/tag31.xml"/><Relationship Id="rId7" Type="http://schemas.openxmlformats.org/officeDocument/2006/relationships/image" Target="../media/image14.w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notesSlide" Target="../notesSlides/notesSlide9.xml"/><Relationship Id="rId5" Type="http://schemas.openxmlformats.org/officeDocument/2006/relationships/slideLayout" Target="../slideLayouts/slideLayout53.xml"/><Relationship Id="rId10" Type="http://schemas.openxmlformats.org/officeDocument/2006/relationships/image" Target="../media/image47.jpg"/><Relationship Id="rId4" Type="http://schemas.openxmlformats.org/officeDocument/2006/relationships/tags" Target="../tags/tag32.xml"/><Relationship Id="rId9" Type="http://schemas.openxmlformats.org/officeDocument/2006/relationships/image" Target="../media/image46.jpg"/></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4.xml"/><Relationship Id="rId7" Type="http://schemas.openxmlformats.org/officeDocument/2006/relationships/image" Target="../media/image49.emf"/><Relationship Id="rId2"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4.png"/><Relationship Id="rId5" Type="http://schemas.openxmlformats.org/officeDocument/2006/relationships/notesSlide" Target="../notesSlides/notesSlide11.xml"/><Relationship Id="rId10" Type="http://schemas.openxmlformats.org/officeDocument/2006/relationships/image" Target="../media/image3.png"/><Relationship Id="rId4" Type="http://schemas.openxmlformats.org/officeDocument/2006/relationships/slideLayout" Target="../slideLayouts/slideLayout60.xml"/><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3.png"/><Relationship Id="rId7"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25.jpeg"/><Relationship Id="rId5" Type="http://schemas.openxmlformats.org/officeDocument/2006/relationships/image" Target="../media/image1.png"/><Relationship Id="rId10" Type="http://schemas.microsoft.com/office/2007/relationships/hdphoto" Target="../media/hdphoto1.wdp"/><Relationship Id="rId4" Type="http://schemas.openxmlformats.org/officeDocument/2006/relationships/image" Target="../media/image24.jpe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4.xml"/><Relationship Id="rId7" Type="http://schemas.openxmlformats.org/officeDocument/2006/relationships/slideLayout" Target="../slideLayouts/slideLayout1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11.emf"/><Relationship Id="rId4" Type="http://schemas.openxmlformats.org/officeDocument/2006/relationships/tags" Target="../tags/tag25.xml"/><Relationship Id="rId9" Type="http://schemas.openxmlformats.org/officeDocument/2006/relationships/image" Target="../media/image33.jpe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slideLayout" Target="../slideLayouts/slideLayout20.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28.xml"/><Relationship Id="rId16" Type="http://schemas.openxmlformats.org/officeDocument/2006/relationships/image" Target="../media/image44.png"/><Relationship Id="rId1" Type="http://schemas.openxmlformats.org/officeDocument/2006/relationships/vmlDrawing" Target="../drawings/vmlDrawing4.v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emf"/><Relationship Id="rId15" Type="http://schemas.openxmlformats.org/officeDocument/2006/relationships/image" Target="../media/image43.png"/><Relationship Id="rId10" Type="http://schemas.openxmlformats.org/officeDocument/2006/relationships/image" Target="../media/image39.png"/><Relationship Id="rId4" Type="http://schemas.openxmlformats.org/officeDocument/2006/relationships/oleObject" Target="../embeddings/oleObject4.bin"/><Relationship Id="rId9" Type="http://schemas.openxmlformats.org/officeDocument/2006/relationships/image" Target="../media/image38.png"/><Relationship Id="rId14" Type="http://schemas.openxmlformats.org/officeDocument/2006/relationships/hyperlink" Target="https://bayergroup.sharepoint.com/sites/DrivingDataasanAsset/SitePages/FAIR-Data-Management.aspx?web=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 Bayer 16:9 Template /// September 20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a:t>
            </a:fld>
            <a:endParaRPr lang="en-US" dirty="0"/>
          </a:p>
        </p:txBody>
      </p:sp>
      <p:sp>
        <p:nvSpPr>
          <p:cNvPr id="5" name="Title 4"/>
          <p:cNvSpPr>
            <a:spLocks noGrp="1"/>
          </p:cNvSpPr>
          <p:nvPr>
            <p:ph type="ctrTitle"/>
          </p:nvPr>
        </p:nvSpPr>
        <p:spPr>
          <a:xfrm>
            <a:off x="709560" y="1665027"/>
            <a:ext cx="3620357" cy="2199921"/>
          </a:xfrm>
        </p:spPr>
        <p:txBody>
          <a:bodyPr/>
          <a:lstStyle/>
          <a:p>
            <a:r>
              <a:rPr lang="en-US" dirty="0"/>
              <a:t/>
            </a:r>
            <a:br>
              <a:rPr lang="en-US" dirty="0"/>
            </a:br>
            <a:r>
              <a:rPr lang="en-US" dirty="0"/>
              <a:t>Digital </a:t>
            </a:r>
            <a:r>
              <a:rPr lang="en-US" dirty="0" smtClean="0"/>
              <a:t>Transformation – Learning Culture</a:t>
            </a:r>
            <a:endParaRPr lang="en-US" dirty="0"/>
          </a:p>
        </p:txBody>
      </p:sp>
      <p:sp>
        <p:nvSpPr>
          <p:cNvPr id="6" name="Text Placeholder 5"/>
          <p:cNvSpPr>
            <a:spLocks noGrp="1"/>
          </p:cNvSpPr>
          <p:nvPr>
            <p:ph type="body" sz="quarter" idx="13"/>
          </p:nvPr>
        </p:nvSpPr>
        <p:spPr>
          <a:xfrm>
            <a:off x="1342894" y="4272936"/>
            <a:ext cx="2915519" cy="1080000"/>
          </a:xfrm>
        </p:spPr>
        <p:txBody>
          <a:bodyPr/>
          <a:lstStyle/>
          <a:p>
            <a:r>
              <a:rPr lang="de-DE" dirty="0" smtClean="0"/>
              <a:t>Vera Gramkow</a:t>
            </a:r>
            <a:r>
              <a:rPr lang="de-DE" dirty="0"/>
              <a:t/>
            </a:r>
            <a:br>
              <a:rPr lang="de-DE" dirty="0"/>
            </a:br>
            <a:r>
              <a:rPr lang="de-DE" sz="1600" dirty="0" smtClean="0">
                <a:solidFill>
                  <a:schemeClr val="tx2"/>
                </a:solidFill>
              </a:rPr>
              <a:t>Global Head of Talent &amp; Performance Development n</a:t>
            </a:r>
            <a:r>
              <a:rPr lang="de-DE" sz="1600" dirty="0">
                <a:solidFill>
                  <a:schemeClr val="tx2"/>
                </a:solidFill>
              </a:rPr>
              <a:t/>
            </a:r>
            <a:br>
              <a:rPr lang="de-DE" sz="1600" dirty="0">
                <a:solidFill>
                  <a:schemeClr val="tx2"/>
                </a:solidFill>
              </a:rPr>
            </a:br>
            <a:r>
              <a:rPr lang="en-US" sz="1600" dirty="0"/>
              <a:t>Twitter: </a:t>
            </a:r>
            <a:r>
              <a:rPr lang="en-US" sz="1600" dirty="0" smtClean="0"/>
              <a:t>@</a:t>
            </a:r>
            <a:r>
              <a:rPr lang="en-US" sz="1600" dirty="0" err="1" smtClean="0"/>
              <a:t>GramkowV</a:t>
            </a:r>
            <a:endParaRPr lang="en-US" sz="1600" dirty="0"/>
          </a:p>
          <a:p>
            <a:r>
              <a:rPr lang="de-DE" sz="1600" dirty="0"/>
              <a:t> </a:t>
            </a:r>
          </a:p>
        </p:txBody>
      </p:sp>
      <p:sp>
        <p:nvSpPr>
          <p:cNvPr id="7" name="Picture Placeholder 6"/>
          <p:cNvSpPr>
            <a:spLocks noGrp="1"/>
          </p:cNvSpPr>
          <p:nvPr>
            <p:ph type="pic" sz="quarter" idx="14"/>
          </p:nvPr>
        </p:nvSpPr>
        <p:spPr/>
      </p:sp>
      <p:cxnSp>
        <p:nvCxnSpPr>
          <p:cNvPr id="8" name="Straight Connector 7"/>
          <p:cNvCxnSpPr/>
          <p:nvPr/>
        </p:nvCxnSpPr>
        <p:spPr bwMode="gray">
          <a:xfrm flipH="1">
            <a:off x="6787822"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flipH="1">
            <a:off x="4086231" y="-724"/>
            <a:ext cx="1330409" cy="6858724"/>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flipH="1">
            <a:off x="9566722" y="-724"/>
            <a:ext cx="1253994" cy="646477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6" descr="C:\Users\GIKGV\Desktop\Fotos Storyline\Drone_flying_over_field_3.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547024" y="0"/>
            <a:ext cx="281940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descr="C:\Users\GIKGV\Desktop\Fotos Storyline\Doctor_with_tablet_pc_4.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798571" y="-724"/>
            <a:ext cx="3869429" cy="6858000"/>
          </a:xfrm>
          <a:prstGeom prst="parallelogram">
            <a:avLst/>
          </a:prstGeom>
          <a:noFill/>
          <a:extLst>
            <a:ext uri="{909E8E84-426E-40DD-AFC4-6F175D3DCCD1}">
              <a14:hiddenFill xmlns:a14="http://schemas.microsoft.com/office/drawing/2010/main">
                <a:solidFill>
                  <a:srgbClr val="FFFFFF"/>
                </a:solidFill>
              </a14:hiddenFill>
            </a:ext>
          </a:extLst>
        </p:spPr>
      </p:pic>
      <p:pic>
        <p:nvPicPr>
          <p:cNvPr id="13" name="Picture 2" descr="C:\Users\GIKGV\Desktop\Fotos Storyline\Man_wearing_vr_glasses.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745437" y="-724"/>
            <a:ext cx="4120724" cy="6858000"/>
          </a:xfrm>
          <a:prstGeom prst="parallelogram">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bwMode="gray">
          <a:xfrm flipH="1">
            <a:off x="6836671" y="-724"/>
            <a:ext cx="1029490" cy="685800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H="1">
            <a:off x="3745437" y="0"/>
            <a:ext cx="1025953" cy="685727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H="1">
            <a:off x="9699425" y="0"/>
            <a:ext cx="968575" cy="685727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uppieren 9"/>
          <p:cNvGrpSpPr>
            <a:grpSpLocks noChangeAspect="1"/>
          </p:cNvGrpSpPr>
          <p:nvPr/>
        </p:nvGrpSpPr>
        <p:grpSpPr>
          <a:xfrm>
            <a:off x="9547024" y="23996"/>
            <a:ext cx="2694100" cy="2694100"/>
            <a:chOff x="12246953" y="3084076"/>
            <a:chExt cx="3085112" cy="3085112"/>
          </a:xfrm>
        </p:grpSpPr>
        <p:sp>
          <p:nvSpPr>
            <p:cNvPr id="18" name="Flussdiagramm: Verbindungsstelle 5"/>
            <p:cNvSpPr/>
            <p:nvPr/>
          </p:nvSpPr>
          <p:spPr bwMode="gray">
            <a:xfrm>
              <a:off x="12246953" y="3084076"/>
              <a:ext cx="3085112" cy="3085112"/>
            </a:xfrm>
            <a:prstGeom prst="flowChartConnector">
              <a:avLst/>
            </a:prstGeom>
            <a:solidFill>
              <a:srgbClr val="FFFFFF"/>
            </a:solidFill>
            <a:ln w="25400" cap="flat" cmpd="sng" algn="ctr">
              <a:solidFill>
                <a:srgbClr val="624963">
                  <a:lumMod val="40000"/>
                  <a:lumOff val="60000"/>
                </a:srgbClr>
              </a:solidFill>
              <a:prstDash val="solid"/>
            </a:ln>
            <a:effectLst>
              <a:glow rad="228600">
                <a:srgbClr val="443247">
                  <a:satMod val="175000"/>
                  <a:alpha val="40000"/>
                </a:srgbClr>
              </a:glow>
            </a:effectLst>
          </p:spPr>
          <p:txBody>
            <a:bodyPr rtlCol="0" anchor="ctr"/>
            <a:lstStyle/>
            <a:p>
              <a:pPr marL="0" marR="0" lvl="0" indent="0" algn="ctr" defTabSz="913391" eaLnBrk="1" fontAlgn="auto" latinLnBrk="0" hangingPunct="1">
                <a:lnSpc>
                  <a:spcPct val="100000"/>
                </a:lnSpc>
                <a:spcBef>
                  <a:spcPts val="0"/>
                </a:spcBef>
                <a:spcAft>
                  <a:spcPts val="0"/>
                </a:spcAft>
                <a:buClrTx/>
                <a:buSzTx/>
                <a:buFontTx/>
                <a:buNone/>
                <a:tabLst/>
                <a:defRPr/>
              </a:pPr>
              <a:endParaRPr kumimoji="0" lang="de-DE" sz="1900" b="0" i="0" u="none" strike="noStrike" kern="0" cap="none" spc="0" normalizeH="0" baseline="0" noProof="0">
                <a:ln>
                  <a:noFill/>
                </a:ln>
                <a:solidFill>
                  <a:srgbClr val="FFFFFF"/>
                </a:solidFill>
                <a:effectLst/>
                <a:uLnTx/>
                <a:uFillTx/>
                <a:latin typeface="Arial"/>
                <a:cs typeface="Arial"/>
              </a:endParaRPr>
            </a:p>
          </p:txBody>
        </p:sp>
        <p:pic>
          <p:nvPicPr>
            <p:cNvPr id="19" name="Picture 3"/>
            <p:cNvPicPr>
              <a:picLocks noChangeAspect="1" noChangeArrowheads="1"/>
            </p:cNvPicPr>
            <p:nvPr/>
          </p:nvPicPr>
          <p:blipFill>
            <a:blip r:embed="rId6">
              <a:duotone>
                <a:srgbClr val="10384F">
                  <a:shade val="45000"/>
                  <a:satMod val="135000"/>
                </a:srgbClr>
                <a:prstClr val="white"/>
              </a:duotone>
              <a:extLst>
                <a:ext uri="{BEBA8EAE-BF5A-486C-A8C5-ECC9F3942E4B}">
                  <a14:imgProps xmlns:a14="http://schemas.microsoft.com/office/drawing/2010/main">
                    <a14:imgLayer r:embed="rId7">
                      <a14:imgEffect>
                        <a14:sharpenSoften amount="50000"/>
                      </a14:imgEffect>
                      <a14:imgEffect>
                        <a14:colorTemperature colorTemp="7200"/>
                      </a14:imgEffect>
                      <a14:imgEffect>
                        <a14:saturation sat="200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353748" y="3190871"/>
              <a:ext cx="2871522" cy="2871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52228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sz="2400"/>
          </a:p>
        </p:txBody>
      </p:sp>
      <p:sp>
        <p:nvSpPr>
          <p:cNvPr id="3" name="Fußzeilenplatzhalter 2"/>
          <p:cNvSpPr>
            <a:spLocks noGrp="1"/>
          </p:cNvSpPr>
          <p:nvPr>
            <p:ph type="ftr" sz="quarter" idx="11"/>
          </p:nvPr>
        </p:nvSpPr>
        <p:spPr/>
        <p:txBody>
          <a:bodyPr/>
          <a:lstStyle/>
          <a:p>
            <a:r>
              <a:rPr lang="en-US" sz="600">
                <a:solidFill>
                  <a:srgbClr val="10384F"/>
                </a:solidFill>
              </a:rPr>
              <a:t>• Digital Health Innovation • January 2018</a:t>
            </a:r>
            <a:endParaRPr lang="en-US" sz="600" dirty="0">
              <a:solidFill>
                <a:srgbClr val="10384F"/>
              </a:solidFill>
            </a:endParaRPr>
          </a:p>
        </p:txBody>
      </p:sp>
      <p:sp>
        <p:nvSpPr>
          <p:cNvPr id="4" name="Foliennummernplatzhalter 3"/>
          <p:cNvSpPr>
            <a:spLocks noGrp="1"/>
          </p:cNvSpPr>
          <p:nvPr>
            <p:ph type="sldNum" sz="quarter" idx="12"/>
          </p:nvPr>
        </p:nvSpPr>
        <p:spPr/>
        <p:txBody>
          <a:bodyPr/>
          <a:lstStyle/>
          <a:p>
            <a:fld id="{EEAD9179-7A6B-4268-BEB2-F3B8EB06115B}" type="slidenum">
              <a:rPr lang="en-US" smtClean="0">
                <a:solidFill>
                  <a:srgbClr val="00BCFF"/>
                </a:solidFill>
              </a:rPr>
              <a:pPr/>
              <a:t>10</a:t>
            </a:fld>
            <a:endParaRPr lang="en-US" dirty="0">
              <a:solidFill>
                <a:srgbClr val="00BCFF"/>
              </a:solidFill>
            </a:endParaRPr>
          </a:p>
        </p:txBody>
      </p:sp>
      <p:sp>
        <p:nvSpPr>
          <p:cNvPr id="5" name="Rechteck 4"/>
          <p:cNvSpPr/>
          <p:nvPr/>
        </p:nvSpPr>
        <p:spPr bwMode="gray">
          <a:xfrm>
            <a:off x="-3" y="0"/>
            <a:ext cx="121904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85"/>
            <a:endParaRPr lang="en-US" sz="2400" dirty="0">
              <a:solidFill>
                <a:srgbClr val="FFFFFF"/>
              </a:solidFill>
            </a:endParaRPr>
          </a:p>
        </p:txBody>
      </p:sp>
      <p:sp>
        <p:nvSpPr>
          <p:cNvPr id="16" name="Textfeld 11"/>
          <p:cNvSpPr txBox="1"/>
          <p:nvPr/>
        </p:nvSpPr>
        <p:spPr bwMode="gray">
          <a:xfrm>
            <a:off x="3891507" y="807600"/>
            <a:ext cx="9506728" cy="476675"/>
          </a:xfrm>
          <a:prstGeom prst="rect">
            <a:avLst/>
          </a:prstGeom>
          <a:noFill/>
        </p:spPr>
        <p:txBody>
          <a:bodyPr wrap="square" lIns="0" tIns="0" rIns="0" bIns="0" rtlCol="0" anchor="ctr">
            <a:noAutofit/>
          </a:bodyPr>
          <a:lstStyle/>
          <a:p>
            <a:pPr defTabSz="914385"/>
            <a:r>
              <a:rPr lang="en-US" sz="3600" dirty="0" smtClean="0">
                <a:solidFill>
                  <a:srgbClr val="89D329"/>
                </a:solidFill>
              </a:rPr>
              <a:t>#</a:t>
            </a:r>
            <a:r>
              <a:rPr lang="en-US" sz="3600" dirty="0" err="1" smtClean="0">
                <a:solidFill>
                  <a:srgbClr val="89D329"/>
                </a:solidFill>
              </a:rPr>
              <a:t>LearningCulture</a:t>
            </a:r>
            <a:endParaRPr lang="de-DE" sz="3600" dirty="0">
              <a:solidFill>
                <a:srgbClr val="89D329"/>
              </a:solidFill>
            </a:endParaRPr>
          </a:p>
        </p:txBody>
      </p:sp>
      <p:pic>
        <p:nvPicPr>
          <p:cNvPr id="18" name="Picture 2" descr="\\nas-mainz\Projekte_vertraulich\Bayer\17-0612_Fischer_CI-Redesign\vom Kunden\Bayer_Cross_2017_REV-White_on-Screen_RGB_170630.wm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black">
          <a:xfrm>
            <a:off x="221683" y="36596"/>
            <a:ext cx="732971" cy="732971"/>
          </a:xfrm>
          <a:prstGeom prst="rect">
            <a:avLst/>
          </a:prstGeom>
          <a:noFill/>
          <a:extLst>
            <a:ext uri="{909E8E84-426E-40DD-AFC4-6F175D3DCCD1}">
              <a14:hiddenFill xmlns:a14="http://schemas.microsoft.com/office/drawing/2010/main">
                <a:solidFill>
                  <a:srgbClr val="FFFFFF"/>
                </a:solidFill>
              </a14:hiddenFill>
            </a:ext>
          </a:extLst>
        </p:spPr>
      </p:pic>
      <p:sp>
        <p:nvSpPr>
          <p:cNvPr id="19" name="Footer Placeholder 1"/>
          <p:cNvSpPr txBox="1">
            <a:spLocks/>
          </p:cNvSpPr>
          <p:nvPr/>
        </p:nvSpPr>
        <p:spPr bwMode="gray">
          <a:xfrm>
            <a:off x="703984" y="6592909"/>
            <a:ext cx="8640000" cy="108000"/>
          </a:xfrm>
          <a:prstGeom prst="rect">
            <a:avLst/>
          </a:prstGeom>
        </p:spPr>
        <p:txBody>
          <a:bodyPr vert="horz" lIns="0" tIns="0" rIns="0" bIns="0" rtlCol="0" anchor="t">
            <a:noAutofit/>
          </a:bodyPr>
          <a:lstStyle>
            <a:defPPr>
              <a:defRPr lang="de-DE"/>
            </a:defPPr>
            <a:lvl1pPr marL="0" algn="l" defTabSz="914400" rtl="0" eaLnBrk="1" latinLnBrk="0" hangingPunct="1">
              <a:defRPr sz="700" kern="1200">
                <a:solidFill>
                  <a:schemeClr val="accent1"/>
                </a:solidFill>
                <a:latin typeface="+mn-lt"/>
                <a:ea typeface="+mn-ea"/>
                <a:cs typeface="+mn-cs"/>
              </a:defRPr>
            </a:lvl1pPr>
            <a:lvl2pPr marL="0" indent="0" algn="l" defTabSz="914400" rtl="0" eaLnBrk="1" latinLnBrk="0" hangingPunct="1">
              <a:defRPr sz="700" kern="1200">
                <a:solidFill>
                  <a:schemeClr val="accent1"/>
                </a:solidFill>
                <a:latin typeface="+mn-lt"/>
                <a:ea typeface="+mn-ea"/>
                <a:cs typeface="+mn-cs"/>
              </a:defRPr>
            </a:lvl2pPr>
            <a:lvl3pPr marL="0" indent="0" algn="l" defTabSz="914400" rtl="0" eaLnBrk="1" latinLnBrk="0" hangingPunct="1">
              <a:defRPr sz="700" kern="1200">
                <a:solidFill>
                  <a:schemeClr val="accent1"/>
                </a:solidFill>
                <a:latin typeface="+mn-lt"/>
                <a:ea typeface="+mn-ea"/>
                <a:cs typeface="+mn-cs"/>
              </a:defRPr>
            </a:lvl3pPr>
            <a:lvl4pPr marL="0" indent="0" algn="l" defTabSz="914400" rtl="0" eaLnBrk="1" latinLnBrk="0" hangingPunct="1">
              <a:defRPr sz="700" kern="1200">
                <a:solidFill>
                  <a:schemeClr val="accent1"/>
                </a:solidFill>
                <a:latin typeface="+mn-lt"/>
                <a:ea typeface="+mn-ea"/>
                <a:cs typeface="+mn-cs"/>
              </a:defRPr>
            </a:lvl4pPr>
            <a:lvl5pPr marL="0" indent="0" algn="l" defTabSz="914400" rtl="0" eaLnBrk="1" latinLnBrk="0" hangingPunct="1">
              <a:defRPr sz="700" kern="1200">
                <a:solidFill>
                  <a:schemeClr val="accent1"/>
                </a:solidFill>
                <a:latin typeface="+mn-lt"/>
                <a:ea typeface="+mn-ea"/>
                <a:cs typeface="+mn-cs"/>
              </a:defRPr>
            </a:lvl5pPr>
            <a:lvl6pPr marL="0" indent="0" algn="l" defTabSz="914400" rtl="0" eaLnBrk="1" latinLnBrk="0" hangingPunct="1">
              <a:tabLst/>
              <a:defRPr sz="700" kern="1200">
                <a:solidFill>
                  <a:schemeClr val="accent1"/>
                </a:solidFill>
                <a:latin typeface="+mn-lt"/>
                <a:ea typeface="+mn-ea"/>
                <a:cs typeface="+mn-cs"/>
              </a:defRPr>
            </a:lvl6pPr>
            <a:lvl7pPr marL="0" indent="0" algn="l" defTabSz="914400" rtl="0" eaLnBrk="1" latinLnBrk="0" hangingPunct="1">
              <a:tabLst/>
              <a:defRPr sz="700" kern="1200">
                <a:solidFill>
                  <a:schemeClr val="accent1"/>
                </a:solidFill>
                <a:latin typeface="+mn-lt"/>
                <a:ea typeface="+mn-ea"/>
                <a:cs typeface="+mn-cs"/>
              </a:defRPr>
            </a:lvl7pPr>
            <a:lvl8pPr marL="0" indent="0" algn="l" defTabSz="914400" rtl="0" eaLnBrk="1" latinLnBrk="0" hangingPunct="1">
              <a:defRPr sz="700" kern="1200">
                <a:solidFill>
                  <a:schemeClr val="accent1"/>
                </a:solidFill>
                <a:latin typeface="+mn-lt"/>
                <a:ea typeface="+mn-ea"/>
                <a:cs typeface="+mn-cs"/>
              </a:defRPr>
            </a:lvl8pPr>
            <a:lvl9pPr marL="0" indent="0" algn="l" defTabSz="914400" rtl="0" eaLnBrk="1" latinLnBrk="0" hangingPunct="1">
              <a:defRPr sz="700" kern="1200">
                <a:solidFill>
                  <a:schemeClr val="accent1"/>
                </a:solidFill>
                <a:latin typeface="+mn-lt"/>
                <a:ea typeface="+mn-ea"/>
                <a:cs typeface="+mn-cs"/>
              </a:defRPr>
            </a:lvl9pPr>
          </a:lstStyle>
          <a:p>
            <a:r>
              <a:rPr lang="en-US" dirty="0">
                <a:solidFill>
                  <a:srgbClr val="FFFFFF"/>
                </a:solidFill>
              </a:rPr>
              <a:t>/// Advancing Digital  at Bayer /// Data as an Asset Convention ///  September 2019</a:t>
            </a:r>
          </a:p>
        </p:txBody>
      </p:sp>
      <p:sp>
        <p:nvSpPr>
          <p:cNvPr id="20" name="AutoShape 3" descr="data:image/jpg;base64,%20/9j/4AAQSkZJRgABAQEAYABgAAD/2wBDAAUDBAQEAwUEBAQFBQUGBwwIBwcHBw8LCwkMEQ8SEhEPERETFhwXExQaFRERGCEYGh0dHx8fExciJCIeJBweHx7/2wBDAQUFBQcGBw4ICA4eFBEUHh4eHh4eHh4eHh4eHh4eHh4eHh4eHh4eHh4eHh4eHh4eHh4eHh4eHh4eHh4eHh4eHh7/wAARCAASABI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rHfU5r7U30/Stu2Bh9quSMrGf7iju36D9KyfGCeIoNWhl0WaaVLyM27RnlIW/v+3Gefauh0PTYNJ0yKyg5CDLserserH3JrzVXq4itKiouKju+/ZL16vdbbvTHmlKTja1i7RRRXpGwUUUUAFFFFAH//2Q=="/>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AutoShape 2" descr="data:image/png;base64,%20iVBORw0KGgoAAAANSUhEUgAAAYsAAAGeCAYAAABl+y2jAAAAAXNSR0IArs4c6QAAAARnQU1BAACxjwv8YQUAAAAJcEhZcwAADsMAAA7DAcdvqGQAAP+lSURBVHhe7H0FgBzHsfa3zHR7zCRmRktm5hhjjh3HyUviOA6+ML+85I/DL3HsmO2YQWaQLWaWjnQ6ZtjdW+b9q/p2z0eSJVmST9J89mj2Bnq6e3rqq2qoggQJEiRIkCBBggQJEiRIkCBBggQJEiRIkCBBwhiALLn/LPBZPluCBAkSTlYkkvsTCnlyL0GCBAkSJBwUx1O7/7RpS5aHBAkSTkd8WsvhuFgenxVZHPK5P/nJT5K/JEiQIOH0w89+9rPkr4PiUIQw5snik9I63GfJrr32WnR1dR3LvEmQIEHCmEZmZuaAkH/++ed590lC/3BJ4ZiQx/EmC3FssKVQUVEx6jMlcpAgQYKEkRhMIoMxefLkxCgWyGjXfuZk8Un3ps4LSyGF0UjB6/WOOBYIBD5N3iRIkCDhpIJOpzuoUDcajSPOMYkcxAI5WDqfijQ+jUAe7V5xjC2JwRbEoQjik0ghHA7LysvLk39JkCBBwqmH2tpaqNXqQwrzFJkMJ45h3VfD0xj89/BzR4RDCuqD4GD3pI6PakmMRg5MBLyPRCIDx0ZDTk7OIc9LkCBBwsmM9vb2QwpylUolzg8mlOHkcQSWxvC/DwtHI4RHu0ccI5IQ+8GWBJPEcIJgS4GPhUKhIWmlSOOTyEOCBAkSTmWkyCG1Z2g0GvGbSWKwJTKYNIaPbwyyNAYfH3LN4eJIhPLBrk0dHzKLabAlwQSRIoDi4mIwSfDfg0khGo2K37FYbMheggQJEk4nKBQKIcxTe6VSKfZMHCnySFki/Pdg0hhOGMMsjYHjSQz/+5A4EoE82rXi2GCLYjBJFBYWCqsiZUGkyCEtLW0IgTBRpMghRRopmEymIX+PhuH3SJAgQcJYQkrgj4YUKbhcLvE3Y/D1fJ7/ZmLo7u4W5wYTB1scra2tgjRShCFuJKSI41hYGEciZIdfm/p7wKIY3OXEZJCXlyeIwu/3C7ciLNStVqtsODnE43GZwWAYOMZ/8z6FT7Iyhl8vQYIECWMJcrl8VMGcIorBSF3r8/nEnq/hY0wS/Luvr0/sU6TB1xBBxAcTRvKY2I8ylpHapzD871FxJEJ28LXid8qieO6556K8lyBBggQJxw6zZs3KTJFFiiA8Hs8AcfCeFO24w+EQxMFWBpNFU1PTECvjWFgYh+NIkAlhBFGk9oMHsyVIkCBBwrEDkYQyEAiIze/3815B1oOCiEHBv0OhkJwsDf4t5x4c7smh36Kbn/epYYFBcvqo5fXh3Dj4GvF7+BjF1q1bw/y3BAkSJEg4dpg3b14hWxW8EQHEU1YGkUKcCCPOXVW8J4siTpZE3Ol0CguDu6UOZmEkV34fF8tiOIYQBbOXOCpBggQJEo41VMFgUEXkoJTJZCralEQawrKgYwoiAnkkEmGLQs7WBZEC/82ymf8eYWEwkgumB8vt4X+PiiMiC16ZPXh6rAQJR4cET0pA4rD0GQkSTmuoyGoQWyKREGTBXVO8JytDSRDdUqmNSWMwYfAko9Ss1GR6g3FEcvxQZDGcbWSDXXikrApmruShY4QYXL09cPtPrZ6tpp0f4dFHVqCzL5Y8kkQiBo+jA3UH9qOmpoa2/Whp70IwOtYlaRxb33kW/35lA2JHkFVfTwMe+d1P8M37f4k1lR3Jo0eLBHx9Tjhc/uTfKSQQ8PbB4fZSLo8DElE4e3vhCRx8Xkcs7EdzPb3TA83wh4fmIuRzobHuAPbz+66uRl1D6ye09zh8rm7Up9pIdQ0amjsQiBy70kX6uvDKvx/Bqh3NySNHgwR6WupQ29JzeP0aEj4RpFSpScaydaFmkqBDgjCSZCHAVgaTBhMFWxo8wzRFGHRsgChYZn+asQtFcj8aBicmfk+ZMkXsfT6fIInc3FzOnOz222//IR8/Jkg48Nef/QS7YqVYOCEzefDkR8O29/DiOwcwZ/li2I2Dqj3cjn/96Lv4+8trSYBUYfP6tfho5Srsa/GgoLQMVr0qeeFYgwwbVjyGDxrVuHT5dCgOq+lFse4/f8dLO/248NKzUV5SAJtJe+StNoV4FO/9/fv4/l/fx4QlZyLXnKqrIFY/+088ubYDc+ZNhe5oOlsPhXArfv/Dn6PFOAWzSmzJgx8j7OvCisf+D48+9wZWf/QRquj7nDatHDplf0Y2vfAHfO0Xj6CltRG7Nm/AR6tWYcO2auiyy1CYYRxZHxEHXvrjz/D7h1fgQMMB7Ni0Hu++/T4qO8MYN7EMJg3LkE+HhK8bzz/0JMI50zFnYnby6JHj/af+ilerZDhvvuTP7VjgwQcffJiIQM4bWRZi2QGRhiAEOibWqtGelxfw+gv+m9dd8D5hMpng8Xj4et6TJZ8QG18zf/580Uu0itre4eKIyWLwWAWZPWL0/a677vqBuOqYwIsPXnsD8fyFOGNyJlprKtHQ5kR3SxXWrd2MVlcUWblZUA8IgDCqt63HGjq3v6kH+rRMWHQytB6oQos7ipijDh9trkVafiH0yhjqd2/CqjUbUd3kRFp2HgycUDyEpqrdWLd+I3bvqUC7K4LMnGyok7XTuX8HPvhwHSpJS4wqDbBbTZBTjSQibmxb+xHWbdqJLh+Ql5/xcYVGfdi1YTWd24EuTwQxP2mGbVHMWzYfaYZB1R7pxvsvr8f4q76K+774OSxffgamlWagZvXreG1zF+YtmAVjsrDOpkp89NFq7K5qhMyQjgyLjo5GUV+xG029XnTt34XV63fAKzchN12NfZtWY82G7egNqZCTbRcCPR5yY+/WDdiwaRv2VtYioOBrTSKdjgM1qGvpRlfLfmxctwlNjgiy8qkeknUdJ4Gy/qOV2LyjGv6EAu6WGnQksnHBkimQxfzYt3kN1m7Yivp2F3QWO8x6df+NSXRXbcLD/3ge6XMvxucuXIDMNAtUCjl83Q1YS412++4quCJq5GbbhMnr7GhATZMDmoQH61evR8iQhQyTpj8xgTj2r38dz77yIbphow9gKowqujMRQc2W1ah0mbBsyQzoqbrDzmas/nAltuyqoTKbRZmDjibs2FkPXXoWdCoZQnTN1h0NMGVnQ0v3+LubsGVvPSyZmdAMZsOoC2+/8g4Mk5ZhXlla8uDHOLBxBf69ohY3f/MH+Px5RXjub49CNnEZpuYaxPmqdW+jUTcHv/zJ13HumWdi/uxJSHTvwTNPr0TapNkozui/bgCRPqx/Zx1s867FfffehnPPXo4Z5VZsXPEKGmT5mD3OhIqtVQDVd83mdWjsU9D7tkIecWHrWiKiLTvR0hNAem6uKFcK3Q37sOrD1dhX1444vYfmymrYxs/F9GIVtm3cC5ktk4iIb4ihoXIPGl0JZNlNQhiE+tqwgd7Zlu170eWNIzMvE77mCrzyn+ewt80LRdQDn8qMPLq+88AufLhqLSr2NyEs08KeZj5M5ULCP//5z0dpJydLgmtMxoTB687IoBDEwfskUQwhDFLmBTGQRcIzqtiqEOkNJgy/38/jF+L44WBQ0xmBwa9T/GaySFkVPE2LGExM1/ryl7/83+KqYwI/1r33IZQli7BkUgbWPf0n/IoEjDMhR7inCe+/+RbaonZMn1wElTyAlc88iEdeWk+iLo4D29Zize5ezF8yCXteeQR/fvIt7N25Cbta41hyxhy0rHkB//fEW/BSZTXvXIPVe3oxZc5MmOPdeO35F7Blfwdinna8/doKNMczMWtaEXy16/DHvz6JnpgMzsYK7GkJYNKUiTDJvXj94b/hxVXV9AYD2Pj+O6infM2ZVAB50Ik3SLN8/PUtiFINt9fuxJo1m+FW5OOccxbAOljVJcGz/t3NsM46G4smkZDS6mHPKcb8ucX48MnH0W6dhgXjMtBetQ5//+tjqHOG4GmrwfsfboO9fCry7Rq89s9f4NePfMRr/+Gs34k3330fu3btQ1VjJwnierz7xvvwmYoxpSwLka5KPP3wc2gOxOBq2I4XXlwD08Q5GJelweYX/w+/+PNT6I4rEHO14IPXV6AxmIaZM4qh8jTioT/8P7yxvQWKeBAH9m7D+g07oCmcg0sWlWLH28/isZfXEZkmcGDHVnTJ0jFjQv6Qfk5XSyXeeWM1wpZsZOdYYbbZEWvfib/+8Z/Y3e5BzNuFVW++jfpwGuZNKaD3+Rb+9PcnsH3bNmzcXYfCGYtQljlIkJJlUb1lK7RF82EJVmBbUwIL5kygdhFF3c7NqA/YsHzJdKj6avHP//cXbGxwI+5twXvvrIUidwqyFW34w/8+CFX5fEzMMaLqvQfxxfsfxcTzL0UZ1ev21x7CP99uxFlnL4CBSSiFqBur3l0N69RlmFM6kiyCzlbs2NeGibNmINa2B5v3+7DsovNRaO0nz7rtq1EbycXnzpsDrUZL9ZCByXPnIVT5Nl7b6cPSZTOHWkMxL3as3gwZ1fWyOSXiHntOKRLtu7GpWYVFM3X4x3//Gqsqa7Dxw030TmZgSoEMz/35Aby2pZ7uD2LP2g+wpsqJqTOnwaSWUft/D3/+46OodYWIi9qxZfNa7KpxYcbSczDZ3oZffO8fMC44B+PTmZxDWPHwA3inSYfzF4yDt70K//rL37G2spNOObD23Q/Qo8zBuMwIPnrrHbQEVEi36mHNL4PZW41//usptJLi1te2H7sbXCidNBW2Y27unZp46KGHniDhzmQhj8fjgjSYMBh8nsf+hhMGEwFvdJxnTYEvTUtLQ25uLi/oYxch7FcKBoMhRRaHRd1H8saGWBXJY8cdsZAPSnMpPn/jbfjyN7+DO6+ej60fkGbW5Ydz3wd48vVKXPSl7+Lr934d3/3x93D9BXOgIy0p4XOhcnM1Jl14F3757dtgcu3Dsy9vwuwr7sE3770X3/n+92BvW4fn3t0BaNJxyU1343vfuR9fue87+Mpt52LvR++gpiuK1t3rsLVLj89/5b/wjW99F1++8XzYSVWt2/A63twdxJ0/+A6+/o178cOvXohdrzyHbR1RNOxZjZfWt+HaL91HmuBXcc8Xb8I4M9DTGxAvbiQSiEUjyd/9UKVNxbnz8rBzxz5Si7vw1vNvQDfrInzrW9/Afd++DxdNSOCFV96HCyrESRioMyfgtjtuxze+/2OcVRLFG5s7cNVtX8RX7/8erlyai1VEwJ2eGNQZE3DHt7+Hb33ja7jv+z/FZRPkWPHKOnpigqyOAFTWUlx1/e340r3fwldvXYad776Bmp4IdrzxPFY2W/DtH34PX/v6f+Gum86HKdSHcCRO9/lImK0Fchfgi1/5Kr71vW/jyjMmj2hcOePnYOn8SSgsnIAF0ycjXR/Ecw8/gp70pfjOt+7DV+/9Jr7zxbOx5T8P44P9Xui1QMXOHQgWLMPPfvEDLJuQnkwpBdKQQhFY8mfhvq9ej873nsEjb+2h43KqZ9rJ5OBe3jUvPo0qTMf3v3s/7qU2dMfSLLz01EtEWkWYki3H3t3VdHEYO/bUIK52Yc/uGvrbhR2761E4dSZsg9Xxw0BmQRks/r34zlfuxJ9WNOL2++/F/HwNPB6/6MuXcV3HY6TgDIYeS889A6ivRkPPaGMhdE+MVaJ+BLv2Y3tlC3KKcsiaUsDVvRtVTj3+61c/xXXnTsb2V5/Amwd0+Pp3v42vfp2+jf/+IuQV7+DJN3Yj5m7HS8+8DNX0C0Wd/NdXv4Krlk9CX4cD4Ti9NVKm4jGegJBqq5TjOGukMsgiXnxE9VmbKMfXvk9t5L5v4rvf+zLmFKUjvWg2WcKzMXnRhfjSPV/E2aRs1ezcgJ3dOlx/+5dw7/3fxn/dcilyBlvWEg4JIgMNkYOaN5IdPMgt9jx+QXuxkYWh4D0RhIJ+CyWePWKQUi+3WCzCAqFzhyO3xVfT/3MkDossUrOgBoMfzhtnJHnoGIOTJZaEibShJSjJTYNGa0Dp+ImkWcUQCARRvWEzlMWLcdGsHBIsGlgyCrFwMWllijgCMRWmLr8MF549D1lk9rob96G2vhPOrhqsfOsNrFy3HYFwH6p2VSEsV5CC34r3Xn4ajz5BZnRtOwJ9HnicPoxfdD7mGurw7S/di3+/vIbMaA3UREYV27eh3RdEw/b1ePP1t7D5QA9C3Y2o2t+IptoDsJXPw9xZpdBrKF+Z43H2ReeiyKpEJHr4g5LM/goSeL6ubtRU18Pb1Yx1H74nusSaet1orqxFV18IKoUVcxctRI7VAK3RhuKyicJiKs+yQas3o2R8ORJRH9VZFDKFEj0Ne/Dsow/jmVffRXfAD39nNwmuGLUGEyZPW4jxxf11nT9pMkwmwOPqxOaKZkw++0KMz6Y0tTqkly7C2ectgFIeg0xrxuLzz4Rj05O471s/x7s7m2EwGUY2LpLc1KihoHJp6X3JequwozaCc664BJlWIzQ6A4oXXYnl45TYsLGCLDYFcqYtxi1XnYuCrHRok33+QyBLIECmtr1kGb7xpbPx3r/+iJX7HVRuDdnuRBpwY8fGvQgnvNi6+j28+fYqtLg9aN27Cy1RM+Yvmozuxjq0N1Wiujcf3/iv60kJ2Y3mpgY0utVYtGAiVEfQwkPORvz7bw8iUHQGrj1jPBFEBHnFNmx/81E88K8VcIRBdTZ6gkqqFz4XHz5jQKaCRunFqlcewm9+9Rv86qc/xje/82t0p83BTRcvgDbsh9pQgiuvuR7Ti3Jh1LqwcWM1pp17OSZkp/VbIvlzcPW5U1C5dQvau9vR6lJj2dIzkG7WQ2ewYNrcC7FsZj61Ex5op3ekVIGaeRL8t4I0VxV8Lhd2V3Zj3tLlGJduEe2kaPx0YYXLqA3x+yUlGDottV0qy+S5yzBN04AffPN+PPT8h/BDBx1ZNhIOG4IoaC+IgvfJbWBWVIowUmRBBMOyWRAGd1mxiyWW1TxkwL1CR6vsj0YWnNDgxMQsqMFWBT+QvcdyBjgjyeuOC6jpkUYTJ/Oq/282s4QQoEbJoiAWCbOYGwrSikBC2l5CJDKo2zzid8Ph6EV3Tze6SACXLb8Wt1+5GC273sXv/vxv1LmVyMlKQ8TjgV8I9ShUOTPxy7/+DfdedwY6Nr+M7//0z9hPVo2WGrzP7UJPTy96urvQ4ZDj0jvuwPIJaYiGo4hyHgYhTmZhlMoxqmFB5ZCTEB+CQBPW727HlBnToCB9MhoMwOlyoLe7G23t3dDmzsStn78EuYY4IqT1ySjtFEhphZKeE6fjjBiZqpy+XB7H5pf+gQceeQcJHvMwKeHp8yXrr/+1D67reJQ/ftLOua6ppUQjg2uarqNyshkclSkw6Zyb8Me//gYXzMjABw/9D37yl5dBhsxQJPtLxSYOkAUYCyFI6XyMBNWdjExlBeWDyCIrD1bD0LGPkUiQXQBMvPB2fOXSfDz8mz8SebtISKqoRPRfLAI3vfdeZy+6Otrg0ZfgjrtvRqFJj/zxM2D0NWDFy+8injcFF553DszhOrz8ymrI0ssxOW9kN5MA14lipIbcsPNDbGjT4dav3Y9v/c8fcOcZJvzqy1/F/726F1Pnz4WdihLl90UVOvTuKHZt3IpYfimKsoZPaqC6jquQWzweUyZPwZRps3DN3ffhx9+5C0U2Fb2XCJTaHORR2+2/nPKWiCEYDPX/nYTosmASoLzz71jyLTBksggiYT5C7YAIOBYlxYKu7QfllNJji0jwHLWRyLD23Q+6T7Q1BaciYCuejR///o+47+Zz0LPrDfzwx/+LrU3u5FkJn4SUJTGMKFLbwIwohrJ/IHzAumCiYGU+pdCzvOaNfw+aGZV6VYMx6vHRyGIwRksIHI+CWSorK+s4eHylBkfSKkYChSHM9ZT0IrCgiZE5HqZGOfHMMyBvXIP/rNwHXygMR3M13nl9JRwhatT0gfEHkUJayTRMnVKCzILpuP6Ou/GFWz+H6RPKUFqWgZotm9GhLMPtd92By0nLXTB7CjT0KcUTcvTW78XGSicWXHoTvnPvbdCQZVLV7sCk+YtQlm7FhAXn464vfQk3XLKc0ipCeroNZZMmwle7AR+s2gNfOITOhm147ZU30eSKsTqQzNHHiJEwC9N1EfpAw6EAOur24NEH/ox67WRcfkY5NGlZZF1NRlpOKS665hbc/cVbsXz+dJSVkRZJ2nYkSkQ06ONNcJ0NsmBSBEA6ODa8uw6GGRfjrluvw6UXnocphXYisiido//ovhh3PwzcR3mLhBAi627J7HGofP8VbN3fQULIj/pd7+GNd9aT0KDyUN6rt21Ca8iG6++8F1+/YQEq12xC54jZoNy9Qc9Ikpg8fSIWTzXhrSefQG2nG+GgB/s+eo6ErQrLFk2gOglS+iliGR0ivYGyq3D+bV/DhQUuPP7vl9EX5nZgwpxlc2HW27H4outx9z134fxFc1E+oRh2DZBePBGl6nb8+9GVKJo6FfbMEoy3+fDUoytgnToLWdbBA+opJNsglZu7D8MhqiPaonRMpdIiEXKjpbWNqwVTFs5CgNrCrkYf7NReuCzcLiPhMEJExlHau7pbsOrlh/DsGicuvvJCpA/noHgUoYia2tw5uOaqy3Hl567C2YtnwKJNtSUW0txekzUlT8MZy6dj35tPY31VK0KUkbbq9XhpVR1mLpqHDCLgkqw43n/zdTT1eBBwd2H1+y/ho93N9MVTmsYs2LV92LJ2G31X1H4PbMaG1bsRprrWWdMwZ1Y+Nr7zGnbUd1EZfajeso4s9T1Ed2R90HfTSwqUy+tHOBJEW10FtZlezLrwBnz3+1+GxVGN3TVd/fmU8IkgDuAps0wUA2SRtCRUJCd5L6wK+s0zpMRepVINWBe853QOJqe5x4h7jg4HRzXnjq0LZii2MJi9koePEcjklSv6NRgCaykK0jBTkNEJBQlc1oHM5ctx540NePzJP2HfW2QRePugL1mKOWeT1saaG20pQWPMnozP33whHnn6Ufxo40tQx+lD1xXh9sLJmLv8PGypeg5//MXPkZdthbenHlF6P2rSbgM9dXjh8ffwisFKBXcjd97ZmFmcjjzjhbjhrHY8/8Cv8LbdIqwR+9RzUD5jOopmnY2bLmzEM4//CRvfzYLZoIHPlIU8k2GABAcgU0GrcuP9Z/4G584cRIks+sjUV2VOxn3fugklZq6ITFx+y3V45KGn8MsfbRazvXwhLc694XZMLEmjBqWk7WMSktHvwX+zJaYQjix1OP+6S/GPF1/CL369GWk2E5obeqAyJDVwrncF/+qHsN64WyQcx+Tzr8OVB/6Cv/3mZ8jMTIfFbIAhvxgKvQYyElRNe9dhxaanYLab4XO4cdFNNyBvmJzldMX7HHi5Jlx95z1w/O0h/OEXP4XNoEQfmSPnEZkvKjJiz36yIulaUnQPCjmXdbDOo0rHdV+9FxX72+EmzZp5afHn7kBDzz/w+5//GOkWLfr6wphNxDF9ajGUhgxMmpgP+cYApkzIgVKlwbiJJTCa6+jvUgzI48GgelIk3ERyf0Xflkwiaxb6UWSWLcHnbzgHF8+uwnN//CVWZZjpW4lj+df+Fxc7arDqjTcxqfDzMFI59296A//7mw6oowG4PW4EYgZc/pVv4JJ5+cmHDAZ3AwEhKg/bCiPpi86zNj9QUTIq3024se3veOwPv8GKNCOCHi+yF12FG86bRFaIDNfcfAP+8fcn8Ksf7UQGvTMOiVAyLpeUGbLyVGW44fZL8IeH/4z/3jce+SY1PDI9clT0PSn1WHb1zWjuehD/9+tfIN2mgasvgvmX30LPVWDuwoV444Fn8dOfN+GyG29GebQRrz7zFp5XmaAM+2CdcS6Wzcrrz6aETwRbFLRxK0yZ3+Lj4W+TNtaSeLSb9+wKhPSFBFsUYjBcp9PFiSR4xmqCjg18RSy3kz+H4xBfWvLBwzD4mPjNvqBS3VB9fX1iVSD9ZlNH4fP5FDt37nSKq48JImipb4TMnIs8uw69bc3wxA0oyOuf+hn2udDc6UJGbh7MWiZaun5/DRpauqE0ZaBsfBkyqHE72lvQl9DTfemDGDGB3uZa7G9oQ1RpQkl5KbJJ21PQR+Zqr0d1bQviGgvyCzIQC0RJk2fNPYL2lkY0NnciobGifNIEZJm1/cnFg6ivrkYL5UeXloPSkiKkpaZ2xoJoqK5EU5cH1txSFNjpgyNBmJGXLaZpDiARRnv9fjS0OYRgiydkMNoyUFxaSsKTy/cx/M52VFcfgDuiQE5hCQrzsqClwnU21SOotqMo2yKu6yNNtSugQmlBlqgzX1832p0h5OflETFFqb4qUd/mgjEjD9lWNQJhDUqK7ejraENfRCumAHM3ViToRlNrL+w5+WK9R5z+rqmsQKc3gbyiMqRpwuiL6lCcl4aQx4mmhkZ09Lqhsxdg6uRS6EbRkDtbmhHVpCEvqz+vjKC7EzVVtXAGgGxKd1xxthD/PlcXOpxh5ObnUp2NIrWJeB1tjfCQ9cDtY/AVfV2tcIbVVOb+ssT8TrGYrYsEmz23ACVFeTAk1yewZt3iCKEgn+qHLLWwz4HWTg8y8wromtGeG0bTgRo0t3Ozp8Q5fbJuDNY8TJtRBnmgD/urqtHtDsGaXYwJEwqgDnvQ1O5CZk4e4u427N3fSNoeWVpk9al01OaKipGf+XGdDAE9r7OpjZQbO3Iy+6euDkYi4kFDXRcsBdT+9IP0v4gXtdQ+23q8MNG7Hk/fhmFQ23N3N6G6phFhpRnl4wqR8LkhN2Yg06bvL2PNPtR3+JCdV0RWTBwhpYXaGClNBK6j6sr9cHjDSMsrQVlxLvT8juJhtNB9dd1BlEyahnyLAh30/TS1dCKqMKJ88mSy1njKt4TDwdy5c+8iAmCi4I1nwaQ2ttsjRBRk8MXCdI34zcf4N5FFVKvVRnlP5BAjBT+m1+t5i1ut1vhgn1FJF+ZMFMPJYsjfw9sdY/Ax8TtFFt3d3XJmpfT0dDFlljIjPB/u3r3bIa6WIEGCBAnHDEQWX06ShSAJIoQRRJEkCXFMLpenCEMQBZ2PEkGI36Tgx81mc4yUfA6iJBwNHglZjKI2jQ62KnifGiBJgTIzGuFIkCBBgoRPj4FxiuSmIMGvpI33CiIH0eVE5CBWeJM8FuMUqa0/iX45nZGRMUJ+HwkOhyxSo+YD4AfygAlngJgqeVSCBAkSJBxjCIJI7Unmij1xRIooeCIU/xQuQVQqlYwHuNVqtYwsB47LLeQ0y2uW28eNLEZbXzEcnJHkTwkSJEiQcAxB1oIyuQmLgokiuQmiSBKGsCxIFovftIlV3rxPJiOQmhGVWm8hDg7FIWX5ochiiJfZ4UixVfJPCRIkSJBwjMHEQLsBy4K4QcHEwOTBRMG/GWRdsCwWBJEiiuEbp/dpcNhjFgfDsciEBAkSJEgYCZKvTA5MFoIY6G/2D8VWxgBRpI4zYTBR8MZymfes1Kc2Tu/TKPifmiwkSJAgQcLxQbLLSVgXtGd5PUASTBBJ0khZFWLMgomC72XwOaPRCB5bThHG0eKoyCI1SDI4UxIkSJAg4diCiYE3+in2TBhMALzRMbGlLIrk9QP7Yy2fP5EshvuESrETezOkTRrgliBBgoTjBDIgOHgRcYSM5eyAVZHcD3Q7DSYMti40Gg20Wi3PhjqojGaZzrL9ED6ihuCILAv2CZWfP5o7AgkSJEiQcKzBpMAb/RRWBe0HyIF/Dx6nSJ1LbYeyLI5mCu0RkYUECRIkSDihGEICSQtjCCkkrxFIEcTw/WAc7VoLiSwkSJAgYYyCyUE+1FM1C3oh7JNEIfaDiGNUHIvhgk9FFlFpnYUECRIkHFcwCfD4BP0ckLeDiGGEDE6dS+1T1gXL609DGp/asjhUv5gECRIkSPhUGCJfmQCGE0Xq2KDjAziW8vlTkwUH/ZYgQYIECccNh+xiOlEYLQOpY7LBcSx4mlVhYaHM5XINuCcn04iXoCvXr1/fmbxHgoTjCo4dxeFiI7EYwhHex8U+GI0jQcd9waiIGMfDgOFIXPx9UNB1Oo0KWo2cI4WKwFoGLQdnkkOlkEGjkkOtpN9KGW39QZvE8KIECScIc+bM+R+SscIFOREG70O0D9GxIO9JBgdjsZjYkxXBe7HxPbQNuDWncyKuRTAYjBmNxlhPT0+cFP0BN+WrVq1KuSgf7JZ8iItyiSwkjClEYxyDm2M8EwGEY/D4I3D7InDS5vJGECQC4OMh2lK/A2EmBY4Xzq2b/hvW3EVgVj6WatnJ3yImYOoYge+XkQLHOhwHW9JpFNCp5YI0tBolHVNAS39bDCpY9EpYeW9UQ6NWCHJRik2aMyLh2IHJgnYidgWTA/1OkQXvgxJZSDjlwZHlWNiHaPMEiAw8tBEZ9DExeMLopc0X6o+vHSarIRJNiL0ggmQL7d+RyJcnSFjLxd/UHgdC8qYgQrPyj9Tx5CeQigWeggg8yQ+g/yN0rj+E+8cxwPkUp83PYmtDTSTC5MCEkmFWw0bEYaXNYlAizaiCQa+icwpoyDpR0iZBwpGCyOK3tBMBjpJkIfb0N1sWEllIOPUQIUHv8vaTQJ8vip6+INocIXgDUfiDUbhpH4oQOSSbK+942RF3DVEbE4NrgzV9DWn5KtFFRIKYrjGTpi/+ppsMWqVoxKmWbtQphdaf+pvPRSk/TEZMAKmuJY8/iiiRBFs2nB8Oe9pPVExYZM0QsflDcbJkYiIELn2sglB4zxB5paewpWGmPOi0Clj1atjNKmTbtIJIbEQiTCpMNBIkfBIORRZJcuC9IA2JLCSclAiT4GdLocsVRHN3EN1EDtyN1ENkwUI3FiOBTZI2pd2zxs5koCdBy4KUf3Msde7yMZGGbiCBb9QooafjGiIMHkvgRaxqtijoZiYM0Y1E/6SE/5FCGBX0D+eIu8P4N1s0oluMCIPzzQTjC0XhC8SI6CJw+YgA3RHRDcZdYkEqN1/DJML5YsJjomLrhruw0pJdV5kWDfLTdci0agR5cHklSBgOiSwknJLgLqTGTh9ae4NodwTQ7iTLgawGHoCOkfTsF8YsPGmTy4XwzEnTCmFpI2JI582iFuSQshK4m4eJYNSW+hkjNmh8hfdOspyYILv7wv1WVF8I3UQkfiKX/rGYfiJipw0qKhN3ZXE3VQ5ZHdlUD3l2HUpyDKI+JEhgSGQh4aQHzzhiTdtBgrGpy4+aNi/aHEExGO0nDZuR0vRZ1pu4S4bIgAVhYYaOBKQGaWYNzDoV1Gq+5tTqlhH1wwPvRBQOd0jUTUt3QJCJg6wrtz8KHhJh60V8ofSPnsjTbFAjl+qmPNeIggw9smxqsqIUwjKRcPpBIgsJJy3Yeuj1hFDb6kV9px8dJAT7SPDFWOjRRo0CGlX/uAHPGMpP1yM3TYcMiwpZVi2MZDWczgiGo2jrDYnuuW6yPJqIQNgK8ZAFxuTS3yuXIPKUwaRTkrWhRXGWAWU5RtjJ6uJuOT4n4fSARBYSTiqwtdDuDKKhw08E4RXdTNxnH47FhfXAs324zz3drEa+XYfcdNrStMJyMBFpjNrKJAjwOhCe/dXcEyASCaK9N4BuskR4DETM/qJruBuOyTeLLI6SbANKs/REInpYjKc38Z4OkMhCwpgH98HXd/jQyF1MLV50kibsJYLg2ULcgrjP3UrCikmhKFOPwgw90kjztZHmq1BIM32OBrzYsH/cg7v2Amggy62NyMNFZM3jIgxeGMgLB7PJSivL7bc4iok8eIxHwqkHiSwkjFlwl0h1swf7mjxo6vbDE+hfER2PUYMgeZRmJOuBLIcJ+QYiCSNZD2oxUC11jRxb8BgGz65i4uCxjoomt7A++G/icfEueKYVj/nk2rWYUmjG+AIzWXdsbUjv4lSBRBYSxhS4u4M12N11fahs8YjZPDxzh8FGAk9XLcrQkSZrxMR8EzJIq+XpoBJOHPh99PSFUNvmRU2rR4wXBUJs6fV/sGxxWI1KTCowYWapFfn0vngtioSTGxJZSBgTYC21scOHHUQSde0+YUUweP2CViVHjo0IIseASUVG0UcudXWMDfCCQh7fqG5xY3+bT8y08vPaDjZH6H+jXoGSTAOml1pQnmMUiwElw+/khEQWEj5TsBWxv8WLPQ19omuDfSvJZAkxUG0z8rRNPSbkm0VfuNkgDaKOZXj9ETR0BVDZ1If6Dn9y0SNPXZaJhYsF6VpMLrRgIlkcefSbvtf+GyWcFBhLZCGpiqcJeKV0Y5cPKza14ckPmvD65nbsJ2siEInDqFWI7qVLF2Tj1nMLceXiPKGVSkQx9sFTkacWm3HVkjx6d0W4YkEOkYOZ3qlSrDo/QATy9rZOPPlhE15Z3yosSF5MKEHCkUIii1Mc3DPR0OHDi2tb8Ph7Tfhodw9aHUHhKI/XQcwfZ8PnzyzATWcXYtm0TNI+dVJ300kIXunOq8CXTE3H588qxE1n5WPBRJvwjMsz2Hjq89p9DjxBisJzq5tR0+wWs68kSDhcSFLhFAVbEs3dfry4phmPvt+IDVVOOHxhEfOB10OcMdmOOy8oxvXLCzC1hKyI03yx3KkEXsw3uciCa88owF0XFuPMaXZkmjXgVRvsy2pzjROPf9CMZ8jaONDmHfDPJUHCoSCRxSkG7mJg/0yvrm/Fw283YF2lkwREVMxqyrBocM6sTHzh/CJ87ox8FGUZhH8iCacmeMYauwzhbsU7LyjCBbOzkJOmE8e9oRi21LrwyLsNZGm0COuTu60kSDgYJLI4hcCrf9/e2kFaYxPW7OuF099PEvl2Lc6Znonbzy3CJfNzkJeuT94h4XRBNpHEhXOzccd5/aTBA98p0thU6RBt5o3N7Wju8gu3LRIkDIdEFqcAODbEe9s78dgHjVi5uxs97rCY9cLO+s4lS+Lmswtw0fxs5Np1yTsknK7IsFKbILLgNnExkUcBtQkFWZc8i2r1nl48sbIRb5HC0eUMJu+QIKEfElmcxGCvrxsq6AMnrfCdbZ3odIXE6l6O2nY+kcQdZEmcPydLaJUSJAxGlk2Hs2dm4jayNC6cnYksC7tFT6CbFI2VO3uoTTVi3b5u4V5dggSGRBYnIXjx1f5WD554vxEvb2hDU3dQkIRBo8CSSWm488JiQRJZaVrJDYeEQyKdx7HI0vjiRSVYPi1dOH7kAe8WRxCvbuzA49TGeA0HxyORcHpDIouTDD3uEF7f2C6sib2NbhHJjX0zzSgx49ZzivC5pXliEPOUiH+Q6HdoyO5IDmfslaeCijCosX5nh58Eju/Ng7qHe/0IEGn3h1z9OOLfEWNQGjzF9bMAKxSZVi0uX5yL288rxqxSC7RKuaj76hYvnlzZgpfXtaFT6po6rTGaREkdk1ZwjyGwHyBecb1mT/86CRZv7Lq6MMOAhRNtmEEfuPoU8wUUCYawmcp7wBWF3mrAOTPSYTtIELlYKIQNe3pR54rAQNcuIy05Q5M8ORiJOHqcAbR0+9HmCKMvEINKo0SGTStmDuWRNfZJEU7DwQjae/xo6gmg0x1BOCaDmT3w0v0iVKpRmbzy4IiEImil+1spnfa+CELx/jjiWXYdCtL1yLaoRv04TwSYuPY1uLG5KozmLjf8EZ8I1MQR/ZZOtmNmmVWEuZVw/CG5+5BwROCV12v39hBZeBCM9KvYGWYVFkxIw+xxNqSZTs0wnIE+H555qx6bO8NQaNU4Z3ERLp9mwggxRQRQVdGOp9Z3oSuQgC3XhrsvLEapcWjzDgeC2FrRi437+9DWF4YvzAGb+r8IDTGE1aTFpFIrlk+1I9c4GmMk0N7GhN2LfW1+MdssnFwNLZPLoScBmpNhxMKp6ZhXbITmIHZ7d2c/6e9pCcBBaYSiMUqa8qqQQa9VIjPNgHmT7JhbaoLlYImcAFQ2/wyv1dng7jgXQSJs4kSQEYtJhSYsm5ohHEtKOL4YS2Qx2hcxQBZTpkyR+Xw+GT1EFo1GZRaLRUYPk0UiEZlSSXqtTCa2O++889vJeyQcQ4TCMazb14s3NnfgQLtPeB7VqOSim+CSBTmYXW6FnrTiUxWxcBT7G91wRFlIJdBFWnxGlhHZhqHN1t3rwRtbutAeBHQkzUxmHWZSHVnVH5NFlIjivQ0teHtvH7qDCWSQRTa73CbqsoRMEEU8JrpZ2LFiuyeO3Ez9MEGdQHNDD15Y24FdrQHElEqML7ZgLpH11AIDWRMK+DxhsvoCqOvwI6FWoyid0h3KV+hsceC5Ne3YTkQRlilQVmDBPE6j0IBsUgDYamFro7YzhOwcM/LNn8H7je3GqpYfYlvgXZSU3IVLSiaLxZw9RLAc8IonUtRyeyQLhLs8pRX/xw8PPvjgOtrFSM6yw6+Bjf6OEmmk9tFBfw/eWLOM857OxWOxWILkODVNdYIUfrFXqTissRqNjY106aEhkcUYBXeTvLqhDeuqekXUNNY8OdDQxfOzcc7MLKSbNae8U7hoKILKuj60++OkucsQDIThicpRnm+ALimFE9EI1m9vx8amIGRKBWRkKqiNWtEtN0AWZHls3d6C1/d6EFWpsWBGNq5ZnI05JWaU5xgwPt+EacVmpMnjaO4OoIMEviehxDg6l+qS8jg9eHVtOyp6IrBnmXHlGfm4cLodE/ONpGGbMKnIgknZGgQ8IbTQ/S2OMKzphiHCPuT2YsW6VuzuCsNkNeDixXm4dHY6Jhf0pzGR08jRErFFkZZtwZJxZugHLZpMxONwezk4UhRBUhzYxQd3RR5LhH3P4pXm72OntxmTct/DebbJsOtVmEB1lG3VoNdN7yAQE84n69r9gtjYIwB7tpVw7DGWyEJSCcYYeDrsxspePPZ+I3Y3eMAORNl76PwJVtxxfjHmjU+DmqyL0wkxIkq7VQ2TSoa6Bic21/sG7OPmRgfW1Hgh06qRS4JZcMgQ45ksj64+rK70IChXYtqkTFw6Jx1ZBqVYlMYTATiyn5EIZum8PFw82QwtfWM1dU5UdScHdGMx7CXSruwOi/GQS0jILyBLQEfvgeNIcBoqlQI5eTZctSQHU9LV8PcFsKHCBTKG+kGEVV3vREVXBCqdBmcuyMOZ40wwkCU0kAa958wsC645txg3Lc6AXfsxEbidXry1pgl/eXk/fvdCDf74Si0eeq8JH1S64YkMK/BRwuV+EC80fQOVQRnG5zyJC6xZSFEA521GWX8bXDbFDiNZtFEir4oWDx59rxEf7epCQJpme0pDIosxBA5d+jJpni+vb0WPJ0KWA5BP1sTVS3JxDWmyPM3xdEQsJkN5qR1nlBsQDwSxYW8vmtwx0sB9+GBHD7rCckweZ8eiYr2wLIaKzgQaW91oDSZgseowb5wFB+3ZUSgwZ6odZXRB0BdEVVsAIUosGgyhus0HHxni40rSMDXr4O/Bkm7CQrIITIoE2js9aPD0C9B4MIxaSoOMAmTnWrGo9OCr6FVqpZiNlELYH8T73IVW4Qb0WkwtNiHHKEd9gwNv7+hGu4+VzU8Hl+chvNX6Y1RHCzE566+4wj41eWYobCY1rliSh+uX5aEkyyBmUnHYV+4qfWFNK1p7A8krJZxqkMhiDICnfO6p78NTK5uweb8ToWhC9L3zLKebzy4kqyJNdDmcruDuF5lag4XTMjAlQyUGiD/c041V27uwl7T99CwTlk9Pg1UjGzmFNRFFe0+YrJME0ogsMkXY0YNDbdCjlCwDfmaXI0SWXgIhfxi9fTGotUoUZemgHa3zNgWZHDkZetj1cvh41pSz37Tw+SMijYRcjvwcI4aNvR8CCTh7vNjXGoDOZsR1ZxXglnMKxTTp284pwNXz0pE/6mD84SPkfx5vtvyEiCIfJWnfwwX2eTiUyzA+xc4nb6K8sENKjqQYjUME0Xr6w2ZspzYsebQ99SCRxWcMXyCCd7d14vk1LWjqCQq/PNw3zNbElYtyhdtpCf3R4UxWI84kUshSA3uqevB+lQcJjRaLp6aj2NQfv2GkiIojEOKuW5lYj0JK+yHBmrJerxACMRzh6HOgdGNEGqTxE2Hr1LKBQb2DQaVWQK2SIU6kHwr3z17rXy+SEPcaP2lu7hDIRJvgp0bDERHgyB0GTGYtpo1PxyKylAaPaxwpwv5n8Xrrr3EgzAR3Cc7KuhSGw5QKdrJ0eaLFtUvzkJumobona8oRxItr2/Dm5na4iSAlnDqQyOIzRKczIDx+frCrG95gjARVAlMLzcKamDuOxyY+ncZ46kGGstJ0LCwxQEYC3B+VYVypHYvHGakhH2RhnUwBo1bOIhdeMTB7aI03kYjDy906JH+1OoUYT+D3oNeQBk7P7AvExZqDQyEUInIhkpCreDpt/ztUKRTQkeXDuXQdoRC1Z5gwo9iAhC+At9e14G8rDuDJVW3YXO+lOjhcDZ7ynYjQFv24nsKr8Fbbn1ERcFD5pmBRzrdQqDwyV/U8ljGz3CYCL80ia4PHjPxEsh/t6cGzHzWLtSQSTg1IZPEZgBRFVDa58fj7TdjV6BErd7nb6byZmSJwTX6G5BX2YJCr1Vg0zY5iIwlwsjQumJUO0yFbMa990EBJFoPT4Uerg6eqHxx+tw/7u+kaIpk8uxZakp0agwbpFhWiROj1rV54DyWgiWxaO3zo8Sdg0mlQYOsXvnqDCnazCrJ4HM0tHvQewTCDSq/F+UsKcd2CDIzP1Ijxjy37uvDUew14fE0nuojADo4EIrEabGq6CX/ZOx0PVJ2D1R4euO/F7u5/otbfBpksG/n2n2Gu3sQceVTIsmlx/ZmFwrMtW05kSKGi2YvHVzaKLlapW+rkh0QWJxjhSBxr9/XgGdK62p0h8XHylNjrl+Xjonk5pH1K1sQnwZxhxtmzMnDR3AyUWj65CRcXWohc5PB6A9hQ6UDbQQaEY6EwNuzuRb07BqNFj4k5erCoV2g0mFxogFlOZNHkxKY6H0a3DRLobHNh/X4PvAk5ivJNKEgymVyrxoQ8I4hz0N3lxkf73BC9Y6PARRZnqzM8xILRkGmzcHYevnRJKe48twDXzM9EkQnYW92F1Qe8h7B2InD616PZX4OQLIxwtAd7O36Njb3/wva+tXRMjjTD3Tg3Y0by+qMHrwHieCnXL88XbvHJKEO3K4Tn1rRg5c4usuo+/UC8hM8OElmcQPR5I3hzcxte39wBTyAqPqZp9MV/nj6u6aXW5FUSPhlyTJ6YiTPKDm8Fsd7GK46tMMsSqD3Qi5fXd2BfWwAeshTYtUUoFEV7pxvvbGzG+zVeRBUqzJqYhvHpyYmjcjkmjbdjeq4WYW8QH9A7fHuXA62usFhRz2l4vCFU1XTjJUq72hERXUfLJ1uh55csIENpqQ2z8nSClDbvbMMbO3rQQqTAaUQiMXh9IVTX9uD5Dxvx8PvN2NHebwX56Zk7al1o7qM2o1KiIM+CZXMzMTNPC1ksBocvIqzV0aFGpul2XFH8I5SqDFRzUXiDT+GD1gfREddR2SZhfs7NsCevPhaYWmwRYXpnlVnEOhDuYn1rW6dYN+RwH9qykzB2MZoaO9C6pUV5xw5tvQH6WFqxrbZPzE/XkhZ2xpR0EYwo3SoNYo+G1KK8Fk8cRUVWTMkeVE+ykQPNne192N0WhNo4bAU3XZth10Ebj6KlOyDCze5v86KWt1YPdu53YF2FA7tbAogolJg7LRsXz7CJdR0pqDRq5FpV6HOR1t8bRH073dvuE2lUNfZhc1Uv1lf3odEdhT3dhEsX5WB6jmZIHhUqFfJsangojWZKgyMa7qc06iit6ia3CEK0odqJeke/e5MJZBHlmRSoqmzHU2s6UNkRhMMThosE7gF65q56D1xxFRZPz0Sp7dC+pBTKMlhie1Hpr0dcpoaCLIpEXIuijJ9jua0MykPefeQw6pQozzWCJ/HxoHckkhD11kHWdKZVA4vhyMZGTldIK7hPMxxo9eLFta2o7fCJv9kN9KVEEstnZEB3Crvr+LSIBMPYXeNArSOKwmIrCd9Dk2pbsxObG/2QG7SYXWaFTfOxAJQrFMjPNiLPrEAwGIHLG0YHC2wijs6+COnbcmRlGHHO3Bycx1aIeqTRrTdqMS6HSAcJuP1ROEloM/Gw4O8j7VlNAn5yeTouX5iFqZTX0cx27k4an6eHQZ5Any8qNG2OTtfcE4QrEIOSSInTuHpxNiZlasTsLE6HXZ+09fqJ3NzYWd+HilY/QjIV5s3IwpnjTdAOWDAHgwJmvQWdjvfRm4gAiSCimktxcc6tyDjCQe3REI75sLLjt2jxbUWBfg7lWykGv4uzjLASMTT1+IUF1esJEUn6RYhfu/n0XDd0JBhLZDFaCxsgC8mR4KcDdw3sPODEW1s60MNLealmeYohE8XEQnPyKgkHQyQUxt793P0SR3HpJ5FFAu2tLmxvDkJj1mJOOZHFIN9Qg8EeX9tIq29yhuEOkZWnVSDbrkdhpo6siU/umaUPD56+IBpIyHd6ouDxbotJg4JMPXIsagxaT3dwJOLwEFGINNhzbUIGi1Et0uCp08O5KhEjQesMoJ4EbTcRlVKtRHG2CcUZ2hHXHgrVzUvxgrMVKvWZWJb3Yyw0lSTPHC0SqPWsxsuNXxEzrc7O+T7mpd9Gx4fWfS0pTK9tbEcLWdgswaxkeVy2IBuzxtkEIUoYHZLX2dMAPK9+cxURxbZOeANRyGQJjCez/IrFucL5mgQJnwVCvn/j5d4GzMj8MSaRhftpEIkHsNv5It5p+ykUZElckPNTzLTfkDw7El3OEF7d2CZiZMSJLHVqBc6blYnFk+3SNPGDYCyRxRHoJBIOF6FIDB/u7MKKze3wBaOi33ZWmQ3XLiuQiELCZwqN4Qu4ofDnn5oo+sJt+LDjt3i37WekXcpxYe7PD0kUjEybBtedkY9546zCF5Y/HMdbWzvx7vZOBEPcuyJhLEMii2OMIH0A75E18e6OLuEUkGeDLJ1ix1VkUdjNkmdOCSc/2gK78GLTl7G992lSPWO4tOC3mJF2XfLsoWExqnDZwhycMyMTaoUMoVgCq/f0YsXGdjFDUMLYhUQWxxD+YETMeFq1t1f4yuEZT+fPycTF83LE7BAJEk52dAaq8GLjV9Dm3ymI4rL832Ga9ark2cMDB3g6b3YmLqRvw6iWi0WpG6p78frGNrh9o69gkfDZQyKLYwQfaUUvrWvF5iqHcGZn0MhxAX0MZ7EGdRiDphIkjHV0h2rxTP0t8EQ6oJCpcV7OTzDN9rnk2SMDO8Y8k76NKxbmCkeE7P1q634XnlvdLNYjSRh7kKTYMYA30G9RbD/g5nlqMOkUuGpRHpZPyxS+hT4JPC3S4Q6irjeARlcQff4I4gdfkivgC4RxwOHHAbqn1R0WM3JOPiTgpHLXdPlQ3c2zfGJDR9ROGHgaa0jUP9dnmyeCZLRUCUl0BirxdN1NCMScUECFRRlfwqxPGKP4JMjoW5k3MQ1XL84RrlC4yvc2eYS/NKcn3H+RhDEDiSw+JfrIbH5tUxu2EVGwkzizXoHLOOTpONvoc80GIeIP4O2tTfjhK/vwhcd24sp/bcc1/96JLz1bgR+9cwArKp3oGc3vTyKGj7YdwJX/3IYr/rYFX369ET0npXSL4MV3KnDxnzfjkr9vxz92OvGZiIhEFC+sq8HV/7cVl9P2zXea0SN1nw+Au5yeb7wbvmgvCXg5xlvOw8KMu4V1cSwwe1waKVe5IuIe61YcUOmFta1iAaKEsQOJLD4FPGQBsAuDbfvJoognkGHS4Lql+ZhDRPFJU8dd3U785Pk9uP0/VfifNW14tdKBPY192FrrwLPb2vHrt2tx6xO7cMt/KvFKVR/8g6OhJRLocfmxt96FfQ0u7OrwI+kJ+yRDgiwq0uY7fTjA6w38gzyiHgP09LjwxOo6/OmDA3hkYwe6DlZJZMa19nqxi+qygup0T+fJWp/HHv6oAx92/A7OcCMJCwV0ijQszfwatIpju05oSpEFVzBh0DfEn04FWRgvrmtFb5/kHmSsQCKLo4Q/GBUzOHbV9YkxCtaKrj0jD1OKLcK8PhTifh/++GoFfrfVgU7uP9KokJ5hRH6eEbnZBliMSkEILn+ILI9GfPfVWux0DFZ1ZbAYNMjMMiA9y4hiqwaDPFOcROBQogoqP5VXoxCzY45lMRo7HPjNm/vx3Vdq8LMP2tCajJI6AvS+0k065FF9ptFWZFWfpPV5bBGO+7G2669o9e+AWq4Xaykuyv0FMrTjk1ccW0wpMotZg2lGlVC2Kho9eHl9m1htL+Gzh0QWRwEmilepEW+rdYnVqBlEFNcszcO4fFP/BZ+Avfta8fe9HkSVchjMenz/wonY+I0F2H3/Iuz6xnx8cNtk/GBRBgp1JDzlSswcn44p9kGzqeQKnL9gPLbctxDbvrUI/7mmFJmfIgDOqQpeGRzijX4HZP2xrkeFXIVbzpqIDd9ciB33L8Qjlxcj4zRwXcRkEIi5EIq5k0eGgqfGbnc8RdYetXJSXs7Iuld0QR1PTCLC4G/JTgoTE8Y+sjA4MFifTyKMzxoSWRwhAqGY6HrimRtMFDaDGp9bmosJBYdHFEiE8VGdE90xFlwyXDynCN87Kx9lNg1sOrIwzDrMmZSLX94wE6/dNBHfXFKI756ZB8swMtDTtXlWHXJsWmSSJsZBZwaDnRWGYrRF4wODtbFwBK3dHmyud2J7ixednpGzTkLBMJo63dhA12xu9qDDExbOaEYDd72lnsHTH0cDu8aI0DVB2sKUkaPp3YlHY3B6gpQvD7Y2uET97aC8tbpCCIwyss9HYlT+WEIGBVcMkQQvjOQxpTDnl7bIkPzKYNRrqS65PnVIH6U+hyIBty+EhnY3Nta7sLmxD02OADyf0HfFdcHPD1J9cV2kcuAnC7KurQ9rqc73tvvg8H/ygEk4xO/Si20NTmxscqOpNyD8Ux0OwnEf9rs/wFN1N+IP+2bj71VnwRGqT57tR4XrDazq+L3oeorGgygxLcNs+03Js8cX7Arn6qX5sJv6LQwmjFdIOQtKLs4/U4z2SaSOSe4+hoFXZrOfp7X7esVsJaNOgSsW5WHOuCNwLx724/uPb8P/7PEDSjXuv2YGfr8oLXlyFJBwEZJuGFqauvDgph44SPBk5aTha0RY1pTxEQzg4U0t2NERgkyhwZXz8zBbF8LfP2zEW7V92OUMQa1RY06eBdcsKMSts+3QEiXsqerEIxvbsJY+zj2eKFRqJWZnGnHB7ALcOS8TmdrB+Yhi1ZYWvFznRZS09ilEcHdPs47wTNnT4aS8tKMpmIDBasSdSwowwZhKJ4wHHtuOb25xAWoV7rtsKn5zVhYG3MtFo9hb240X9/WIcZlGZwB17ghccRnSdUqMI8E+vdiOz8/LxdIC/YDm4/X68MT6ZnxY14d3G9zoiySg1+tx2eQ0ZHGc7kgceQV23LswG3pxUwKV1R14bKcDXvqrIN+OLy3I/rg+B8Hj9ODNXe14rcqFii4/qolwlUolxqfpMDnfgitm5OCCcRYYR+nHau9w4KFNHegIJGCzWPDlM7PRW9eBv5LysaHZhyoiiWyDBnPyrbhuUSGumWzFSPdWcVTXduJhfk+NHuxzhBFRKDDRrsf4bCOWTszAeeU2lKdpDkp4Ox0v4MXGuymPmfSxy4nE4mQxnI/LC/4gupr6wq14pPYKIngv1UwMRmUWri78K/IMM5MpnBjsa+jDKxva0UsKC7+meeNtuHRhDgyfcvX5yYSx5O5D8jp7mGBfTx9s78Kavb1CUzfqlbicGu7hDGYPRQxr9nVgVTuZ1aRp6rVanDveOsQd9hCM2nWSQF1NK+57qQ4f1jhQF1fjJhLmlpR08Pvw0zeq8eSmLmxuDUCpSmDl1kb8bk0HmpNO6wLEdnWkqX9AFhIH+gl1duIrz1Xj5co+MXWUFxWG6ZrGXh9WVjvgV+twZrERqlR+EhG8+sF+/GxVO7bU9yFkt+LzEy0jGlR7Y7cYM3irwoHN7gQunZmLsoEgzzFsJMH7TluQWqICiyZk4twSIwZEQTCIv75ViZ+v7kBVZwDtlK8gWwSUOX8ghhZ3ENvqHFjV5EVRjg2T0vr7jvpcLnznuX14b38QIS3liPJMbRb79vdi0wEntlR2o06pwxfmZEKXzMrWHQ24//UGrK9zoV2uwXUzM2EeJpOaGzvx/Rer8NsNHdja5ieri+qJGkM4GEG7K4jdrX14r7oX7VE5ZuebRrzTxsYO3P9KLT6odmKXIwqz3I//92YtXt3nQleQw54CblJIqtv7sJJIPTPLijmZQz2zHqhqxheersJ/qtxo8cUQY59K8RhZGT7sa3bj7coe9MZVOJsUGP1B2CKRiMEb7UJvqI7IgepMlhAD2EZlBrJ1U/FB+6/RHtgt2rWczi/LuhcTrRck7z5xyLRqYTMqUdfhQ5Dqpa03KOKsl2QbxDqN0wFjyevs6VHjnxIk07GOrIlVe3pFl4paKccl87KIKNKOkCgIpOnPyNRDwYyjTBD5NOG/XqrB61VO4aL6cKFQKoiw6EM3qGAmgTiEUyhT7AYdJg3k+gRe3NKEJ+uCWDo7D9cvLcB5ZSaIAHNaFQKhAH69ogJfeKke2z0yzJmeg+uWFuLSKTZksjtTsi4SRAwPrW3Ems7BM1Nk0NA5bSoPB3F9KqePWs/X0GYga+CIBo61akzKMcCkU2PqODtuWVqEH59bgh+dXYhrJ1uQxlEFNXLUN/bg/61qRrO/vxtIqVBhWo4J+enJgWqqagW9s5JcEyYXmDC+0IzpaUNdiKtI6Bo4xgLl00LpDudoR2cPfvBSJR4mIe0my0Zn0+PCObn4ztnF+PYZeVhepKcHy+D0BfGP9/bjpx+2kUWTvDkJRaou6L0Eon789t1GVMe0uGhxIa5fnIvlhQYujngvLpcHv1nZhAayyAbg9+JBsg7XdkegMutx4/JSvHj7dLx402T86twCLMjTIkF5y6X2ZTrEGFaOfhouzPsl8g1ziHc5WqMcIbIiDrg/xNrOv2Cv8xVxXTQeRq5+JqbYLhd/fxbgQEoXz80S1gTpONhQ1YvVe7qF8ibhxGL0L1zCEOyodQpnZ+FoTISOPG92BpnER0EUAjKcPTUby+wk6EiYhGMxvELC/MbHduKif+3A116uwatESi19YaFpflpwf7+ftMP7L5uKV++ciX/fOBUv3jUDv1mYDitppCRZ4fAG0eCX4c7zJuC1L8zAI3TNM1+YhUcuyEOhgiUtCROPD6/VcifNCYRciXNmFou8vHH3bPzz+sn48aXj8ZMrJuFROvbgOVnIlFP+SMJuqOvBhs7+6U4Wixm/vXEW/npRHnIVJFQiUaQZLfjLTTPw9l2z8OaX5+LP5+dhoDfskxAN4/lV9XiKCJf9j2dm2fDgjTPw3K3T8MsrJuBX107FK5Tu7xfZYSCOZnJ9eHU9XqgdfeCYwW7SDXYb/nXbLDxL6fz7xml4+c7p+NEsK7QsCNUK1Lc58G5TIHkHEVavG6tbibCJySaUZuGXl43D5VMzcensAnzviil4nt7vkzdOxD0z7J/otjxNU4yF6XdCr0yjdhaj63Vo8G3Ehp4HxXnSRKks6ViUcTd0is8uiiNpxZg3IQ0Xzs4mK0gGUo5JaevBFrJ2WYmTcOIgkcUnoKbFLfzwByJx4SlzySQ7zpiaIX4fLawF2fjfK0qxOE0JJaXL8AbD2HigF38loXTlYzuw/G/b8O0367CdBOBR61D8NcVkOHN6Pr6yIAtpZIHoSYM2mYz4/BlFODNLTYKQvzgZykn4fPesAuSStNMTIRq1Gpy/sBg3lxr6ryHm2t/hP/q8HCUyc6y4ZHoGCs1q6ChfrJ0LDV2nxefOKcctJaTRRyl7/hAqOwPCRpcTAdrTjCjhWA/8mij7PK5QlGNGQZYJZblmFJJlcbgTyDpbe/DILifi9M5VOh1+evlE3DzVChMJdBXlhaf/Wu1m3HfZZNw/0Qh5Qo6Y34d/b+6CczTPFfReFCo17jyrFFePN4l0+L3Y0iy4myyVs9JIkWDLMxgV3W8p8JiZm98pfbUcgrXJ8fEMIS5zQW4ablqcj3LL4fXpl5qWI1M7iX7xWyVBnAjRa2Z3+v1iIVs3BWV0zWcNJozFU9Jw/uxM8e79oTje2daFisa+5BUSTgQksjgEWrv9WLGpA276aFngzC23iYD03A316SDD3NmlePq2afjhkiwszNLCzP3LLLzYnCDNsq7Hgz+8sx/X/ns3ntrXd3TuPPge0s7nFVqQPSwomcWmw/x0HeQ8Uk/XzS61oVw/VHqKqG0FeshYe6fLYuHYCSeLFDi6XaczgMYen5j50+2NICrT4swCHuPgMsRFUKDB9cQztNjnEINlLI8vHDkS2EVWyw4v3Zug91aeiSsPEvtbrtPjlqW5GJ/0Qr+32Yka9ygzm6jObXo9zigaubAtw6zHJA7yJDKcIKPm467JNCudE4MscjS09ODeZ/figXVt2NHq+8SZWKNBLTdgtv3zZMSYqJRcN7zOhesrQcaLAufm/EBcNxbAhLGclIbFk9J4eAt99K5f2dCGhmT0SQnHHxJZHAS8EOj1ze1o7QkKQTkx34iL5mcLj5nHBjIUFWfgJ9dMw3O3Tsej10/Ez5fl4pIy0npZIDBpqOWoa+vFd16pwTvNH2uYRwLWEg2kdY6AnI+TVpwUEplkdQylCgIdUJE2L7rb6DL+YE803A43nv+oFnc/vRu3PLYLN/57B207cfOju/DFl6rxRlsQcnbUKEuIKaksY48tYqgn7T5M6XOdTcozwywGFkZHVrYVc6wqIey9gSAqHaOYFkQ6SoVSeFwdAbZU+HiyqgfXucZqwV2LMpHJY52xGHY39uCbL1bgOqqLLzxbiSd39qKXtO4jQalpKQkBah+DKi4SD2GS5WKka8uTR8YGWEk7f3YWphebxZhSjzssgil1uaRV3icCB2/1pzF4LcXbWztQTRobf7T56Vpcvij3+ASZlytQkGfFVfMK8aPLJuGR22bihVsn479n25HB4wVETh2dLjyzqxes3B4NRhUflNbgMZGDWS7HXvgePrrau/GdZ/bgnldr8cSWDrzX4MZORwi7ev1Y1eTEoxua8M8aDyIkxBnHh8ri8PDAOVeiUgaDXnHIsKlqsuQs/fNxESdLxnGQtQFcrYPrfzAOWueU9vlLx+NflxVhoZj5RRdGIqjt9OCFLS346jO7cdtzNdjZc/gL2NRyI+bYbx6ovEgiiCmWy3DOGLIqBoOVtUvm56A0hyxeItJGIvK3t7QL1zsSji8kshiGBH3B6yp6xOps/mZtRBDs5Czbdqj4z8cIKiUyrHrMm5iLn94wBT+YZYWK57DK4jjQ5UVP4GBS5LPHwQQ1a4BHY5DEgwE8/sEB/KvSA0dchrKybDx++yzs+vZiVP/3Euy7fwHWfGEqvj7BBDkPCB+3qlHAwJYefyn0Lvq8Q7u6hiMSj8GTdP4oIyshnV2ZHEPINRpcftZEvHTPbDx+SQmun2RDobHf+usLh/HGpkZ8++0mtI3mgPIgmGq7UlgXsUQYi9LvxsUFv4ZeaUueHXuwm6kOFvQ7HuRXsYuUiI92dyPK34qE4waJLIaBfT19uKtbrIXj4EUXz89GSe7ofdRHjUQcHb0BhA8hdFRqHS4utyE92c8eikbFSukxhVT+SRX2BGI8zjwCnmCEtuQfR4Bepxcra70gnoDJZsb/u3YKbpmZgXF2HfLMWpRlmbF0Wh5unWaBToxZJG88BI6CswgKlGXr6F+6Ox7H7kYXupNTdEdDZ2cftjp5jEsGi06DSWnHliwEyJLKybTilvMm4Jk7Z+P9L83E/5yRiTxeU6JMYGVFB9YPmeZ8aFhUebgo71e4qeQpnJ3zPTGWMdZRkKnHFYt4gZ6CLLQENlQ4sG2/M3lWwvGARBaDwAPab5BJy7GBSSnEmdMyMKP0WE8bTGB/RRNueXAHfr2mA53+0bsp+LoDjiC8yTdk0alhOkRf+YmHDCqNrN9qoI+1vsWFWs8wIRoLYe1+B5p48PUIZ48FAkF0syVFll6WzYCFecNG6AXiqOkIIMSMMkry3J0zmEMOJ7bIaJhZmo75vJCQZPHOui48tts5atde3O/Hf9a3oYrXy9CzZtN9482jjBcdNdjbcADuQVqGTKPGuKIMfOfqKfjeTJPoT4zHomhxH363jFymFNZFoXFB8sjJAfZUe86MDLFQNBiNient9e0neHr3aQSJLJIQcSk2t6OHPjIWKTNLLVg2LR3KQzsJOmL0tnTh66/U4f2WPvzy9Qrc9Xw1/rOrB3W9QXhCMfgjMTj7/Fi1tR6/2dwND/fHy+ljzrMgfaTvh88OJGCKSbsjvhCDsnUtPfjf9xqwtysAXzgGh9OHF1fX4/dbHQiIMvTfdrjQalVI454/urerz4cNrcMH+OOoqGjGH3e7+scsRqkantbKE7k4Da+P0mjwCA/BoUAIHX0hDPb6fiik56Xj1ulWqLn/KRLCn96pxu/Wd6KpLyK6LRMkqFranHjg9Ur8sdIjCMpkMeGeBZkjfHp9GgSdffjJc7vx1RV12NLqF9bvACL9/qYEPcoUSNMdS5Iau1g8hYh8QhopBjI4vPQNb2yX4mAcJ0hkQQhH41i5swu1bTygnUBhhlbMutDxCuFjDP6cLfwhEwmxY7/XtzfjS8/uxece24VLH96BSx7agcse2YWbX6rDap5JQ0KgOD8NN05PG8VP0GcJGeaXp2OhTUkWRIL+j+GZDfW4jspxCZXjskd24stvNcGhUMLOPqUOOmo7OtJsJizgVdFUY+4+L771UiX+srENb9X04vW9Hfjzm5W48ZkabHKRFXiQZeG5Rg3yktaYNxTAz17dhzue2o3rH9qOn63tHLXbbDTIlWrceFYZbhlH+aGyOl1e/OS1Cnzu0Z244+k9+OITu3DN43vwo0296GGrVKXG3WeV4NLiY9mdE8U7Gxrx2I5uPLH6AG58fBcpGpX4v7UteHJTE37ycgUe2MNatQzFWRbMyhjNEjv1wItkeTr7hDyjGPBu6A7gna0dCElOB485JLIg7DzgwpYap5BnZq0SF83NRob1+Axop+dl4p+3z8JfzsrGFHY+RA91uwPYWe/E6soefETbugN9/d0IpMmWFqTj95ePw8JhPrOjpM0GA3SNPwp/KDpsZk0CPjpGZgoSgeionln5mmA4igjPIhHXjNaxkkCYLJ146jnD5vKbstLxg7PyUKyk9OlcjPJU2eLCqr1dWF/lgjE3Hb9ZnovSBOWFtL445WloVih9ygPnk/MQopOp00qdHredUYSz06ncdN+B+m7c/9w+3PDgdtz0r5349hvNiGWm40sTjIh7QoAvKkh/cPL2bCuunWSGLkLPoHOtXW48saUdr+7owb5ednORQkLUZ4zKyPlgyyg5VDQAS2Yafn3NZHxtshlasmpCviC21vbiMUrv4R1d2NTiQ4DqwGQy4LuXTMQPl2VjuHLPLipivGaH6jMejHGWRoLaQ4Dzy3U++L2Q5lycb8Wl48zQyOM4wLPB1jbiGy9W4O5nK/GL9V1i1b+ZLJpvnVWIyYe5MO9UgM2oxvlzMkWoAH6nO+r6sKnK0X9SwjHDaKpz6hs6LRwJtnT7xeIeXuTDUyIvmJ2NOeMP4QX204K0H61Og/kTM3HFeAvKTCrh90ZPb4K7ojUKBbIsWswqtOLquQX43RXjsTxfN0iw9YPdg8fUaowvteHM8XacUWSCdqBPPgF/TIbsLDPm0/lzqTzjbCNDYIZJOJvTjZhF15w9Ph3T0kdqoxG6RmXSY1aJDWdNsGNB3sfeXbkshYU2LCKBzsJWCGvKf0mGCRfMycf/u2w8zsrVwi+Xo6jAikXj7Din1AL7IBMpSIXWUR5ml1M+Kf3Jdk0yfRnS7CYsJ+1cGY+L9L0h1toVKMsx49qFJfjL1eVYkKZEQq/FtNI0nDMhHdNJo071HMrIqplRYIaNyKovQARA9WLUq4Wn2utm52DhoLKImTSUziSqi7Mon4sKjFSfyZNJGKgezpuUhlk8bZXKLifS4K4fg459WJlx/vQc/ObScbhzVjp0o4yPsAuNsEKFcnq3i8kqO6vcjLRR1lqwp3FTmkm8u3Mm2jGF34tMTu/TisunZ2AB1ZFey1HrZAiR5RmXKVCcYcCySVn4wcXjcctUy0AdnC6wmdRQUaH3t3nFO+l0hZBn1yLNdHJbWGPJkeBoTSp17JR3Uc5BjJ5d3YzdDR7x9/xxNlxzRh5Un3qF9pEhFg6jxxlCM2nHHiKMDCKPgjQdLLqTRztMUBkauwNwRhKw0wdaYB9JcEeNeBRdvX7UuUncK+Qot+uRQSR7+Iijh5SCVh9p9ERmRWl6pLETp0+DUBjNjiAaSclQUZqFZInmWE+gYCICdPQG0eQlIiTFodCkRV6aVkQbPF3BTj5fXd+G9ZUOYWFOyjfi+jMLYGHnjScpxpKL8hMrFccY1lb0iMAqXCNFGVqcNzvzhBMFQ0HMnpVlwlzWastsmJpnOqmIgiGjMhTnWTCr2IrCY0kUDLkSmRlmLKS6WVRsOUKiYMhF2NoZxTbMIkvjUxMFQ6NGAVkTS8vSsIDydEKJgiFTIo0ssplU38up3ZRk6E5romDwhIbzZmWhJFMvupRrWr1Yu7dHTGqQ8Olx2pJFLZmra/c6RHcOu/g+lxpZuuXkNlklSDjdYTGqxNooGykETBLrK3pR0XRw778SDh+nJVk4PWER8c4TiEIuk2HBeBsmj+LUTYKE44H+YXxJ2z1eKMs14oyp/dPeebLCBzs64ZbcgXxqnHZkwas91+3rQUOXX3yvZTlGLKGGxaQhQcLxRDjuxwHPavxf9VnY716ZPCrheIDXXkwuMIvu0KbuoCAM7pqScPQ47ciiikzSLftdouGY9AqcNSMdVuPImUISJBxLeCIdeKXpXjx24GqYlFnI0I5PnpFwPGDUKXHWzAzYTWqhIG7b34e99a7kWQlHg9OKLDz+qIih7eb59GRWLJ5sx0TSPiRIOJ5o9e/Eq833Ya/zJUyxXI5riv4Bq7ogeVbC8UJxlgFLJqWJKbW+UAwf7u6Gwy2t7j5anDZkwQPZm6t7xTxstk3Lsw2iX1OChOOJXY7n8XrLd0S301TbVbis4PfQjWGPrqcaFk5Kx/ikI1Ce2s0xvKX43UeH04Ys2hwBrK9wiOhpJq0S587uDwIvQcLxwput/41323+OzkAFJpgvEETBMa8lnDiwy57z6Fs363l2FLC1xol6KbreUeG0IAueQse+n9jRGC+snT/BKga2JUg4HuA41m+1/gjbe59CKOZBsXExri76K3SKY+3BWMLhoDjbABGOlb59ly+KNXt6EDgGvqPc4Q683vwdvNb8LYRj/uTRUxenBVnsqHViX6MbCVkC+Wk6LBjPcXyl2U8Sjj04gND77b/Gtt7HhevvHN00XFX4V2gV0tjYZ4lFk+woydKLactVrR7sOnD0sS8SiKOy7038uWoBKvpeR75+NlSKExAc7TPGKU8WHEt7zb5e9kUHnUqBJVPtyDgRUe8knHaIJ2L4oP032NzzMGmxamRoJuCy/N/BpMpMXiHhs4LZoMLyaenQaxQIRxL4aHcPHO4jj93NluKGrn/i5cb/gkZuwiX5/4PZ9s+DPYWd6jilS5hIJLCx0oHWnqAo6MQ843EIZiRBQj9RvNP2U0EUKrmeLAkLzs75LjJ1E5NXSPisMaHAjJklVhEEix0NrtnbI2TE4cIRaqB3/BOs7nyArEYVLi34HaZYL0+ePfVxSpNFS3cA2w+4EEvEYdQpsGhyOrTqYxejIhGLo6vHj14/+zP9dOBGGwzFEIkf25VD0XAMwchQ193DEfKH0NAZgO8g3bg+bxANPSGEj3HejiUSkQgaOnzoPlghjjOq+t7CbudzIiRpOO7DdNvnUGJcmjwrYSxArZJj/kQbbCYVWQIyIRvY7c/hoNm/Df+pvwMVrhWI039XF/0dkywXJc+eHjhlyYLdZW+q7kVPcl41R74bR5bFsUQ4GMaaLe3Y2hr41GQRC/jx7po2HOg7hsKOCGj//i68V9WHQ80u721z4tEVdVhZO3KWSCIcwgdrGvHEhh4OGTFmEQ8E8eHOTuzrPvFuHeo8a/FR5+/FQs9oPITJlktwRubXSPs8doqJhGODokwD5pbZOHiiWG+1qaoXkVEDi3yMtsAePF//RTjDDfSXHFcX/AXjzef2nzyNcMqSRWOnD3saPOIDzjBpsGxaBocgOKYYnBz/TsTjCIZJi6dnhkJRESODlPoRCAajcPkiCKROksbuDUSEJdTliYgZGxwISEBYHJQWXe8ly2MwYmTZ9KdB11Ca3PgHPy9M93HM5jZnCL3eCDzB0S0gmUIGRTyK7RXdqObofAOIo2Z/L3a0BiFXJeNtDyABP+WZ8zp6Gfkcl3HoExOxGNx03B2IcbEHIYFIJAaPn89FRwQfEqD69dL5VDnYsmOriaEwGXHDWYVYXKDlpBAmiypCicTpGk7TFxolk4QoPZPzkwrsxHnoD0/aj2g8LKa+tgd2wxMZ6Ym/N3gAH3X8Hq5wM/2VQKZuEs7M+hbUCmm23VgEt2G2LnKS45aVLV5UNB7c0WBbYBeeqbsFobgbSrkGF+T+FBOtp5dFkcIpGfwoTALk3W2daOj0g3KIs2dkYEqxJXn22CEWiWJ/kweaNCPK7Gr4etx4Z48DXhI89U0u7KrvQ6MzCrtVCz2H/kzE0dHeh7X7HKgm87exO4i4SgWbMoaNe3pQ3R2GPxhCmyMMHRGcXS/D/joHttb24UC7F/tbfXDHFciwqMGhnbu7XHh/n5uIKYL9jX3YQ89rckdho+cZ6IK2FgdWVXvQR8KVYx+4wzLkpWvFvYPR5/Ch1S1DrhVo6I6iJN8gAin1UvqrqrzIzNAixnHA843Q083xaBRVBxzYXOMSbqBb++iZFg2VkXQPKmNri5PK6ER1hw/NPUFApUaaQYFIIIRt+7qxtd7T32UUiCON7uPotT1dHmyucqKK0qulrS2Zpi6Z2YAngM0VvdjV6BGLq7iOO9tc2O1IoCxTi4QvgHd29yKu1yFDk8CuPZ2ooPp0uf3YW+fCvmY/QjIlMsyqZGCgBLo63GLtTRW9i1ZHCDEq124qVx8JhTyTEs2+Ldjc85BYL7Gp+yHSLBtRZj4TKnm/oPFHnXir9Qdo8m0UxxKU7jk530eRcZE4L2FsQqfh9VVkdbf5EAonEI7GMLHABPWw8ARNvq14oeEeBON9UMnUWJhxD+al33ZCLcaxFPzolLQsats82EdChfXD4gwdZpcf/0Ftlj+xUBj7SNhUdIWRk2vGrDIzvO0OrNjlRJAy43f68CH9NmaZMG+8DQVWlbBA4iolJhQYYFMrUFJoxbxyM7KM/Q0aHFgnz4w55TZMzlIJIbi1tX8WR5hIoqKWnxdFPj1vZokRjlYH3tvjEtHW7HYDkZgKZgvVwcQ0TMrVjSAKRoJUfLlGjaWzMqH1ebChzodoNIINu50wF6RjXqFOXJPgUhIZVFR1Y0NDEAWU17nlFiT6PHh7ey/c9Mygw41397pgy7di/jgrCV0Faf8cpjSOfZUkwN1yzB6fhhmFBqjIUugP+cqTETkyngEzqJwzi4zwEVF9sK8PxCeI+YN4d0M76gNyTC6xYFqBEVG3D6v29KKFyJGLxGMWdR1e9NINMrLGurp92FTTh6BSjamlVpSYEli3rUMQCIO73lZs7kHMpMOMMivKM9RoIoJfX9WHPiLVaMKLle2/xfruf4qZTTplGhp9G1Dd9464n7Hb+QJq3O8RURiofFHMsF2HyZZLk2cljGVwZMbiLL3w7FDX7kdN89CxiwbvBrzS9FX4Y72kUStRbj4HC9PvorZw8gZS+rQ45cgiRIKJfdhzt4KGNIWFk9JOnKNAklo6Q39oTnYxMK7AirOnmNHd4kEnKdgyEo7sFj1KzS83y4hZE+yYWaAnjUaB7DS2BuSkxRvFfHCLhl+NAuOKbRiXoYGczuWSAJ5gkuFAqmGTTa3XazGDiGd8Hj2vOA1LykxwsdAkttCTIMwiDVmv16A014BcmzqpVY8EhxXVWg1YPtGMhv09eG19G9qhxbKJJshJ+HLPjIKyFPD4sKPBj0kTMzGnyIRSIrIzZ6Yj6vSgqjMsyujmAX8iufxsI5FUOqYnScoXiJBFkBDkxaFFl0xOQ6aOy0nlzjRheiFZLmSdmG0GTCvWo4cEfm8ogZZmB/aHVLhgfiYm5fMzTVgwNQMTqV6o6oRSQNoTtCr6rMki4r8VlFkm0FllFpTkmDCfri8ykEVEL4JKg23VDsgybDh/ahrKc4wYT/lZOtWGbLKAOAU51Fie/U1kaMeJRXY8IErKmZgJ4wo1oiOwT8x80ihMYiYUOwZclvUNysfHnxRPWmCPAZ8lvC4fNu93EYke23xwV2uUGkUwHIM/FBPxxz9dURPw+SMi/O3hJBPwBrCn1g13qrv2CMETXZZMsosV3gGSGRur2GdcfxesL9qL9V3/B3ekXRAFr5FZnnU/1AqDOH+64pQji30NbtS0eUXfZFmOAZMKjn3308HAH4tWq4RF/7EbEQ391vG4A31UOrsJ586woa22C4++XY/XSRvvSn7ELFTYZuRxiBRiwTDWb2nFC+s7sJGE26pdPdjfSw2abuG7WBip9CqkCYHbD47NrJKTaS2SZWHVf90njOEReMwAyC2xk4Ycx7bGMBbMzISVpDznjTmGhWjAE0SHN4b2Nhc+2tGFD2jbQB+tyxtBlzMETboNF02z4EBFOx55uwFv7XbASYKE56HPnp6Dcm0YL6+sxxMftWFPOzGoeHQc+6lOnlvdglX7HFi/txsb633gYQZ+pssThs6mQzp35SUhU6qQb1fzrQeBHFaDEh+H+5bBoFf0j0fEYnAF40jPJBJLnmXozVpkErmy7yA5WRO88vrS/P+FWm6kXBCByJTCe2wlWRevNH+DhAoRDv0XJ/pfmPFFInt7MqV+NB/oxGPru0igJQ98BoiQ5druCiEwqF0dC/R0uPD4mwfw+MpmvLi2BU+924AnV7eh3nW0hY1h674OvFXjpZr+ZHgdPny0tRf8ORwteCrtxPx+AjjQ4UNFoxeReACrOv+AZv8m+o50wqq8vOABpGmKxXWnM04psgiEo9hQ2YswaRs6tRxzxtlgGiS4TwRY4+ItBRZm4k8hbeUoLUvHrecV4sLpNiTcHqzY3IWeIAsiFjr0QkgzTqGyqhMbuxM4f0k+rl6ch8sXZmNGjmbYA8S47wBS2l0qFb6U0+bZH4cFmQJzpmbj5rPyMCV9ZN3JSZVXUR61OhVsZrWw2mwWPc5dlIe53F1Fzxo/PhO3n1uE86ZYEOjqw+ubSWsj9tKb9LjojELcuDQHk+xyrNrUhh1dYTi7+/BRpRdlk7Jx7Rl5uGJRLs6ZZIGWChGLy5Bp0yLQ7UUDkVQK4VAQte0hYVGMCjo8uJoY/LeMtoRCiSyjCm3NHvgHNNMEnF1etJCwUw7qq2PCmGW/nuq4XwjyGoo1XX9EX7iZBIlSTJNlT7LjRpkdEw5G0E0kejDxGSfS6nUG0dIbhJM06hR44N7tDaONjvPmGnROTJwgqzESiaLbFUaAtACvPwpvkI4TqbYOS8tsN2KZsOAUIl0mdY4930PPbXPy/UMrKUR57nD0T4pgT60+utbXr3kMQShE7y0kx4Lpmbhkfg4uW5CJLITw1pZOsqKT11PDdPaFRJ66PRHR2S5AL4InFQQp735/GD10zu8LU3lCtAXR3BMQFgZf56PzHY6gSKPXFxXfiAC9IvE7+ap4MkdHL+XbEeqfPNF/eAQ8ZC10Bavom9tP1oUc88i6N2hYQQA2H3Bgbfu/xBTolGhcnn0/SkxLxO/THacUWeyuc6O5OyDaTzFpjdw1c7wh+vIH5A1ZB7QN+bT4GGvmJNRC3iBqWrzoCQF5ORZMKzIgRB+Dnz5Gjuoli8fg9EaFFcLB5/lj5e4cDReIu3fcQTTSx5CaYMQWw/Dn8e/Bx7ibRswgog+I002RyWDQ5YJwUqc0Zj0m5esHZj+I8/RPjGrWYNVjXAb328pRlGvCrFIzSjO0MOuUSDMqEegLoLLVB1dUhsI8C6bm6hHwkWZLX2Nbuxv1jgi0Rh1mjLciUxEnYRpFlM6R8dEf/5yeFQyQ0OsKwB2Ji/rNKUwjgZ3AuxvbseWAC3vrnNi014keqggZS3+RSS7Dx++C7xteVlFfVFCyGzB7sh1Grwevbu3GnoY+7KxxUNo+RJisU4kkMdV6FQyqdHrEx8fZUqLUoFfYMclyMTRkfYwAvXPuFkvKsyGIhcPYsqsdr2zswIfbO/DSmraB8RSf24/3NrXi7e2deH9LG/6zqhUVPXwugaqqDjz1UTs+3NaO59d1oZMsvbWbm/H4h234aDddT/c9Q1ZbRXIKsaPHhWfWkcbvJvuHlJMnydp7ZXMHVu/pworVTXhxcw8J/f5yuR0evLmuBa9u7iSrsRPvbuZnN2NbR9ICHAaVWoUMqwZpJjWyMow4a3oaWcMk7MmUSkSj2La7g8rXjpVUvlfXtmJllUeMQSXomnfWteKNrZ14nY6/u9uFtm4/uoj8XD0erN3Ti+rOEOJESOt3tGPFlg58tL0dz37YjI1NfkE6XKf8qli5CvrIGtjaRvVFli7vd/YKa3YwgrE+7HA8g2cb7sI/q8/Fv/ZfhGbfJpRlmzAuR0+WqgIuywpsdP6N3qyKLAw/So1nivUyEvpxypAFa0A7al1iyin3Xc8WVsVxHoyib4wV2wHlln/37wYgOnCSx2OkSR5ocOD9rWRu04e4oT6ASeU2ZBrlkGl0mFqqRU1FBzX2HrR645gyMQNlqpCY2bVqTw92NngQTsiEZs8Qzxb/DQIf4xPi+yeBnm+GKeTHOxvasLXBl+yeGgqRf/qnv7d/JMRzOEk6rdJosWS6XVhF725ux5u0vbezC1VkITCJiRliB3pJyLXjjU3t2Era/5QJNqRp5XD2+rB+F5Wdz23sQtxmwoxcHWzpZszKV6NiHwk7SotnWbWQFSFmVzFUapy1MA+L8tTo6PKh2RlBeq4F07M1UCbLz36/RLmT5DGQZ/FXEnyMdnzMZDfjyqXZKNDEUdfGYyMyTB5vQ6GJUkzWbwrp2nJMs11NVs7Q1Soc+a7UtAxl5mXJI4cJqsja/URSPcBZ83NxDVlTCzJlWLWjG10kuNU6NeZOy8LVS/NxzdJcjDPFsbGyD74YlZXIrrGlDz3Q4vz5GWICgZ+sEDeR86zJmbiKri9URsRstDCTI5m2PJ4Qpd885uKla2VGA86ck4Mr59vhbnFgW1sI0XAEG3Z2w6PV41Ky7C6dl4kSi5y09eBBujD7W4tskMnaS5ZBjNqcjbSb+gNd2NQWxfyZ2bhicS7Om2xCLbXtjY1BMVU7FgxhZ70XWcV2nDPNhpJ8E4oyNcjOteGSBWRB5+vE5I5J4zJwFVnWn6O6WFCowo59DnRTHaXG3pTyBDo63ESmCSybl4vPLcnF3GIj1PzyB6HOswYvNn6FLIpaaBQcQU+Bjzr+QO3Zj9llWcgsaofK8pRIN5aIwK4px5LML4sxKQn9GG0OWKqWT6qpszxXen1ygU15rhHnz87q11SPI2QKOew2HfLtPDWW9BHStPIyDcg2q0AWroBSrUR+Fh2zqKDXq5GbroPdoISBfpeQIJ+SbyCtlC6kjy6b7zWpYLVokWVRw2TQoDhbD7NGIQapC7KNmFxoQiFp8iYtWRwaNQqy9Mik57EGy1DTsTyyqvgYk4reqEURXc/dRVlpOljpvmHfETQ6lchjBj17tNlSOhJeRZl6pBv6p51qKS9FGZSWXgmjUYOSPDMmUzn0dJIFXYE4p4LRoEZ5oQWTc3QiL2k2PXJJE2XX8PZ0A2aWW5BBJCInoZDL6ZNloqH6yqJ6mFhoRnkW1RUJbxUJOVI6UZxLx+jdluQYkaWNYd0uFzIKbShPU5FmqESO3YB8Sp+7IK1Wei9UD2aqXFEkql+rmeqC6p/rMxqMIKRUY3yBCaXZBpSRdpnw8EywEGZNsZOw+LgimI54EHu383kx157Bs59MqizRTXGw/mxHtxtVHhlml5gxaFgJiRgJ89098OnouTbSaP1RqvcYth3wwJhhRkmaGnLSzOvbvOgki5A+PnS64igrMiHQ7UG9X4HLz8xFiVlJ7yOGvQfcSCuwY3ExtSUNvfdQAFW9UUwkqy/uD2JfRxjl+RakIYRtTVEsnZeFQrrXSO/b2daHXo0ehdoIVteS4JyejQl2NaWjRCa1wa5ePzRWI+VzqOLlcQewp96DvgDlja6prCPLrDGA8rIMzMxWYM2WTtjKs7G0SE/vVEHvQw+Vx41dDlKC8nSoreuDIc+Oy2aQUkfvSE4k39DigZeUpvlkcXN74e9LReVr6fCipY/j5SfQTkpJHrUDYzSEXU0hTJhkg5UsvOZ2Lw70BJFQq1GWa4BxWEPmlfVke6I1sJPqjMpCH4E70iq+hSnpy9GY+CO88X30puVQyNVYnPFlTLRc2H/zZwhp6uwxRiAYw846FwKhmFjSP5esCp7lcLwhp8aclaGHXd//LKVWTYJcB+KCAahIeBdl68T6BAaTBHffTCkioUBCPEUqDCW9uCISvBOpsZuSJ7QkfEvyTJiQZ0AmfdwWIpIca//sLj5XlK6FNqVmEXgsIZ8Eoi51jL4GGwlpFr55VpUw3YeDhX9hFqVzkNagJ9IqIkIcnFcNP5vKweTFeUith6CGCQOTHOWZy1hkJ+0/+UwlWXyZ9v68TKLy2AY9UEHCPi/LiEmUXoFNAzPVUw49k8sRC4WwekMLntnQgV2kFFQd6MGLH7XCYTRiTgFpoAQmi3wmKR7ooDzY7f0zwQaKy8eoHnKIRPmYq6cPL61sxFtkxVW3erBjbwee3+hAbpkdpWTpDUeebgYmWy8T1gR7lmV34xfm/hzFh7GmggXSYHB3GCs1fe4gapo9qG6irSeO6dRuC/WkBdd2iUkNzZ4YQoGIiCEdJYuS0+HxebOZFIQUmQn1nvTkwVmmU8OfOQAWwsmf3E/HVhQbY3xMHB/Ud0eyZXiP3ADE9fQQFStJpJTpjTosnZOLsyeaiNy5y5PaldCCPgaHOuUJHBwygMeNeM3PwFdKz+FncVdf6pmdrU68uLoNlT1hhMlibekMIEB56i9b/0U8I8tClunlS3IwOU2BvRXteGpVG9p8Q80hizoPZ+V8D5Msl5ClRNYN/ccdkg2eLdjk+i26ou8QiciFUmCRT0Sh+rLknRJSGPlVnIRo6vHjQJtPtPO8NA0JHMkd9KkEhV6Hs+ZmocwgQxNpkDWdIaQXpOPGpVlDLIAjgT3HhgtnpkEbDQuB3eRJYM7sPFw+3TKqdaVVWlBoWCi6JdI0Jbil7D8YbzkvefYgSApA/sHjKalNRoKygIjQSqQ6b2oGLiRN/6zpdswvtyJPG8f22j5YyVK4cFYGFk60izUpcrKuxGQJSo/FYL+o7AeTD485pSCE7qAL+HwK4tpB58RYFAlco0GHclNCTCludUfg8Yexp6YHNd0RIoORFcJjPzKtRuSPI06eOT0dU3J1QqGQqdjiVWF/PVktpMAxOQQDQexqDSEvwwijgsiSjol8JtNj8N9x0pv5XDwSQVWdE0GTGefPycKSiWmYW04WGjFb/8QunsrcT1o86B8jK3HutGzcdGYO5B4vdreP9CirU1iwIP0OEdKWu5qUMg3aA3uwtfdROsuikAlZTxbh1Wjt6LcgJXyMk54seJrjbrIqvGRdcKzdeePTYNAef6tCwomEDGarHvOnZ+FK0X+dh+WTLPTRHx1RMETXV66FSCgXnzsjH1ctysFsUusP1XImWS7EVQV/xp3jVhBJlSaPHhysefv6/Fi/uwdr93ZjzZ5uMfZU35fAdBKy6TE/Xt/UgdW7u/DGxjasr/chplaJdTa9rS6sq3Rga1UPttd5EWLLgqwAIexJxH4sZPuJYiQh8HVJAUwbn00dHyyhBVlQAgp67tK5OShUhsV403vbefxEgSyrUhDccIi0yDoa1cm3TIFZU7OQF/Xj1XXtWLmzE6+vb4fHaMLicSZhHsVEXpLXM+RKFBKB+ttdeJeefcARRwGHQ3V7sWGfA9t4AkKNS0xDFkZzsiwKeQKOLhfeXN+Kd3ZQHe91QabXi0WWoyFXPwMFhnn0blj0iVqhje0MSpSIKB6aiN7GKdjX6BBrtiR8jNG+jdQXeFKMWbQ7gnhvR6fwm5RHje3CeTnH1LOsBAkp8KIstip4vcXhQEXt0KJTCiWGZ+2ILh8SUiazloSwFkWZWihJUDMRpKcbMbvUDCPdk5Wuh0mZEH6/1Fo1ygtMKMvSId2sEq4q0m065FhUSU1PJsac8tJ1sKW6Q1UK2JLdlWqFHGajFvlkcRvoOI8xFQx0G9K9GhVy7HrYtTLhy8xmN4iuw+x0A9I1cTT1xjCh1IZM/VC9UqFUiDGgvDR+xkjS5rGzEh6rIoEeSciRnmHC0sk8FkTimUhUR3nm8TuLNjmmRP/arRqhAESoZPY0Hd1PedDJxAA9D3bzZI3x2Xpk2dSim9lk0oiuSqtBLcbweAahQq3GjAl2lNlGf0cyIjKOgV7nXSW6FHmMIoUoWRva3p/B2WGEjyybIu5iNn+2FsZYGrMY+ZY/Pia79tprZV1dXTKv1ysLBAKywsJCmcvlktOD5FqtViGXy5WUEeX69etHelg7AWDt5s3NHXh/VxdlWoYL52TivNnZ1CCSF0iQIOHwQKRVW9eDTQ1+qIiQlKRxu/xxlJelY2GpYch41ckO7oJ6aP9FcIaaBog/mghidtpN0Pfci1c3twlravnUdFy6MAfKIQNCJxZz5sz5Le3CJGfDJO/YkBN7+jsYj8dDJIN5H0zu+W+x8fW08fzpCO/pXJSU/hgp+zGj0Rjr6emJGwyGuE6nS9DfiVWrVqXMrMH23uDfJ3c3lNcfw95Gt+hzTTepMLXYKhGFBAlHA7kcxcV2XDAnG/PH2TCjPA0XLczFkrJTiygYPBtqUcY9JCuU4AFtdis/w3oNzs75NqaWWpBhVouJBBXNHji9Q6dLn844qZvBngYXuvtCgvknkInK3lglSJBwdFAqFUi3aVEsphIbRFfXKD1MpwTYMaBeYYNaocPSrK/i4vz/IVI0w2JQYmqRWUTT6/WED+m+/HTDSUsW7IZ8T4NbxCzguLqTCo3HfV2FBAkSTg3oFVZcmv9b3FjyBJZl3UdWRr/sYJLgcAa8Toida+6s6xNT8iWcxGRR3+ETcQ3o3aIgXSciYEmQIEHC4UGGEtNS5OimJf/+GDlpWrFIkycksG+uA+2e5JnTGyclWfDA9t6GPuHriH0q8cIwg+7wZqhIkCDh5MAu5/PY1POw8AR7IsGzKTkYkk7FsVji2F3vHnX68OmGk5Is2DtlfadfLPaxmzQoz5X8t0iQcKrAFW7Bv/dfjrdbfwRnqBEcU+JEo5jd31g0PO6P2jYvuvtGd6Z4OuGkJAsmim43u6fml6oXc61PFrA31HA0Ltwzn8raCpeNtTJeKyA2Lu8nFJddYPjIWuSN64cMyAGk4o3z5qctFBu8MO3kBC8o5bIMlCl68pfp0yGBRu9GPH7gWjT7t2K67Rqcl/sjEtgnPjpdulmNcbl6yBIyEbCsolHqihptrkPq2JhcZxEiQfL8mlZsq3VCQ2birWcXYnLx2HbvEfQFUdfjR1W7W7gYr3OH4ZfJMZ40l1ybAeNyDChN0yHTeOI/iuOF+ro2/HRdNyK88piEgFylxbcuKsMM60gtMRwIYmNVN96ocuCAN4YoaQE2gwZnT8rClVPtMCmjeG9tAx6p8UGm4hjgcRQVZuB7y3NFcKaTEtEo3tjWgCcqfFBQGeJEFHk5dvz3uflIOw17VCPxIPY4X8Lqzj+IAFPz0r+AC/N+njz72aCiyY1nPmyGJxgVXd23nFME3Qle8DuW1lmcdGTR0u3H4x80otMVQnGmAV+6pAR6EYB9DCIcwobKLjy+pR0rGzxoCMaEVSEmcXM1K2RQquSwaNWYl2/FpbNycM00O7J0J/8K9K2bKzHvsQNkYnBZqMxaE1Z8ayEuzRs6vTkS8OHvr1Xi11t60RXkBafJ5kea9pTZxXjupkmYbIzgz49sw71renkaC8hMwfjZpVh11yRkD3NW91kiHo1gb4MDLd4EeGJeNCFHGYfCtY8ypTsSwm9f2I7vraQykdLD5S2aVIjVX5uGwlNHZzgs+KI9It55Vd/bCMScWJj+RZyf95Pk2c8OPCb673fqUdPmE9Evbzm7COUnIEbOYEiL8j4FuAvK4Y2QSJFhUoFpzBKF1+XG/3tlH256uhL/2O1EjY+IgqubBQPnmTfSUqKJBHp9Iby9rx33Pb8XX3i2GusPEmzmZAJ75OWVwNAmN/o92pz9nTua8LMN3eiKU90YSEqyXy++kP7nMan+QG5EqqzR8SQGTov2HF99lOQ+U0RJOfjnu9W47cm9uO2Zvbj9qUo8dSAZL30EZCLqoGgHyTrSkOIw1sp0vBGI9eGVpnux0/EfBON9WJTxJdH1NBbAA92TC80g4QsfKXq1bZ4hXaOnG04qsuD5zjzYxGFTTSQwTkQkvKNBgIjiVy/vw4/WdqGeF4CyAOTukkiU1U2kqcmaYLctQSJ+nsLNaigJi0iQLJFGD1zJyGUnM9RKJUrNahRa1CiifalZNcSVukA8iHcrnXDGmESZHXjNjAozi62YXWbF5DRNMg6EDEadaiCtfNrnGhTgcLFjCwm4IzH0cIhPaqvdtJGOcFBYqQ3nJstUQPtCAxFq8tzpAPbN9HzDF1HvXU/vUoE5aTfj7JzvDqx5GAsYl2eCSSsXcejrO/zwBPojEJ6OGO1rSx0bc91QLT0BPPx2A3o8YUwtNOK284rHntNA0i4fXrEHX1/VA7+aNEZu99E4NGoVzudIZhPTMNmmRjgYRkWnByurevBugxeuMEdI0+In10zFd+bYBX+cSMSTA8gcL5qdz+lIyx0OjuHMA88h4jkOtsRTCw/mNofL5/QN/rDkMFs+jnshEPXi1n9sxRP76Tr21xaV4yuXTMH/LMsU8194rENN2jcHvfF4+mNCMz+wdidXqZBGQvaQQxZ0IXf78WA49/xxQB22SHi69fFAPOLHlx7cjIf2k4YgyE+JH3x+Nn4515K8YhAob16yKD1UJq5CVg+URLAWs0bceijwYH+IysX+9XidEZeJt0+DCJEcx4pgcKTJ0ZwDHkuEYh4823Anmn1bqPxyjLOch4vzfgO90pa8YmyAJyE89l4jdtX3wUaW7y3nFokAXCcK0pjFUWL17m68tqlduCa+cmEOzpiWQcLj+DbqI0XVnnp87okaVJDgE5IsGoPVaMSPLpmAe+amiy73wYgGAlixvh4//bATsxaMw98vy4c+eW40cNjSHhLCfZ4g2vvCaCPJzS0imzTvIh4kt2phG9VFexxVjQ5s644gTtlKkMZbnGfBkhwt6uq78J9tnfiQrJqWsAzTs004c1oWrp+eISLZIRbFvroevL6nC+uavNjrjaHArMWiMjuunJWDBbm6EQ3J7/Xjw3oP+mPQJKBQanD2eCtsLAnjMexpcmFXiwt/WtOIrd2UGTm1S6Uaty4twQV5xBykydmseiwpssBMzNHW5sL6ziDiLBTpA86xG7GILMtRZSSHr213YWVlD7Y0uLGrO4QuSr6E8jyDNMWl4zOwvMyC9FHGhuKD69cdQUswJoy/dK0KJWlaql8d0kbcF8certtmDx5e24C1XexHmw8rcMn8AtwwzkhFJqvJqMM59FybcLaUQHOHG5s6AojL5ZBRedMsRiwrMeBgQxZOpxfranqwngTXng4f9tF7MFO+ZmUbMbMojeqXFJGsQQGFBiEeDOKjA060BPgDjyOhUGHxuDSUqmJYubMNL+/pwbquIJGcCgsKLDh3eg4umWAd0V6PBbzRbrzadB8avOuEn6Zs3RRcUfBH2DRFySvGFj7a1UVyp0O08QvnZuKcWdmCpE8EJLI4CrCG+MT7/QyfZlTj9vOKhA+bsYREOIBfPL4dP9nt5UgrQuAp5Wr89Opp+P6CNKFBjo4YqjjMZKYVBaNEaRMgAVtV24XndnZhTasP7aRpt3ki/YHpEzKxKLHIosHkPBtuXlSAS8ebhwqNRAQPPLMV31zj7CexmAwXnVmOu/MT+PXbjdjiJJHIx1lt5yYiV+D6pWX47ZmZ2LyrEb/4oBV7PHSN0DiT19GjC7Jt+MP1k3FN2VBtq6GyHnMfrERvhMrDzGRKx/rvzsUiG+UqGsSP/7MTv1jnAAxqNjo+BscQoHpDOIbyaUV46eYpmGYGXnhuG659vwOkehITRXHGkvF4/fPjYB6mhkf8frywph5/3NCJzQ7S8FP5ZYg8J6DRqnH+lBx8m9rQ4txUDIs4DhzowrNUv6ubfWh1h9DujYjgPQythsiC6ndinhU3LizAFRMtGBi2jofwo6e345frXP3jLoPLQ8qCMGsoHUtJHlbeNRWz7VSGeBSPvbEbt7/RRgKa/iarburMcqy5ZzysyVsHkIhi8+42/L8Pm/AaWaFBZnsuFxcrWSZ+6MRcC+44oxh3z8uEdVi9hDu6cOHDO/FhK+WHu0BJgfnlZWUwdXZTvjvRTe2hXwJSWpRfrU6H+y6egP9emg3jMSQM9vjK6ye2OZ6EVt6/PurKwr9gvPlc8Xssor03gH++1QAHfXM8Tsqzojjq34mANMB9FHC6w6IbipFNGp7dPPacBjo7HHi1wUdCN1mt4QSWzyjA1+cdiigYCkwsTTs4UQjEsGpPC375UQveJ419nzMMJwsNMWCugI+07YouL17Y0oQvPrUX/9jpYlk+BCq6dmDQ2ajCnv0d+MYbDdjiSkaU4XxzOFre5HE8v6kBNz69F994j4jCS6nxCiXeuIuKu//Igmlu68WPiGz28/lB4PgNhtSzaK+hNAf3bCjpWTIRVi15IAXOA5eJNh39TmlwHKNByeklN+4CG2FUkpX2t9cr8NW3mrGZy8TP5gSobsTGead7Q2QprdhYj2++2YSOgfGhBLZXtOAHK1vwDhH3XqrfXuYJzguVlb5EVHb78PLWZtz9xB78v80OYXGkwH7J5Fwv9P8QcD9dMg3u2huskarpHgXnMVlHHMd9eJGYaFdtqsNdz1bjuVofgkwsXG9MEqRAic9ZHJOhqtWJH760Dz8iYu+LDPnORT3ouFuU60+nhkIRx+Or6/Df67v7iYJfDuef80r5CQb9eODdA3il9mAD9EcOXkWy0/EsatzvQUNEwcSxOOMrY5ooGHZSEjhcMqPTGUIvKRKnI4Y37TGL+k4f+vz9IR5LsvViwHNsIYFqsnpqPfQBs4bO8SE1Wlw/JwumY1HLchUWFNuQJaaKkiBgqZOSLBwqjYUhCw29Ct3OPvzwzQPY1MOKxTDwPULKJtDi8KPRm6APwYCzCvTIVlK6KSFDQi5OGu2GOhfaAnHoSMAsKjBiNgfdYSFF/wuQYKlr6MUHTJIHw6Cs9iNBf/eH1TwUBgtjxgA5jEiPEcXb6w/gVxt64SCriIUna+vpJh2umpmNO2ZnYkm6CiquJ9LE1RYjrpmWgTR+VwIKzC9PR6kgMDrG1Zw6xZq7qF9Kl+rX5fXgf9+qwfttg4VGYgQ5DwdHuBsl4/2g46Odatjfiu+taMAeH93LfUKUD5lciTPK7bh9Xg6uLjMjnYhdVBa9i0gsjH+8X4u/j6IsDIDaTowsnpouP3xU0Ck5RpyRpYWF47Ymxy2IyRD0+PDCvl64h7+Io0SteyVWdz4gxiu4bfGiu8WZ9yTPjl2wIlCeayA9Rg53ICL80n1S2z0VcdKQRU2rR3yvPFWW11eMsaEKQgy1rgDcrO1z3kjoZmSaMC975Ory3g4nXljXhKc2tuDpYdtTG5rxxJZ27O8bLuhlmFGShoun2nHhjFz85fIJePGmqVhxy1Q897lx+MokM4z8sTNIaLg6nXhyt7P/79FArV1GApK7mt6+Zy5e/dJcvHHTBFyQoQQZrf3XJCu5KMeOh26ZiTfpmjfvmYnfLrTDKgJC8zVkQMXDqOjxi2sPC3I1rl9SjtduGIcladQEeX6s6E6R47qFJVhx6zS8dNt0/OnsXBQc5uL8PtKqH9jYiZ4EpUecyfU/a1w2/nPHLDx5yzT8300zsOKLs/D/FqUjR63GvRdPwP3z7aK3MIWionRcNcOG86dk44+XjsdLXL+3TsWL147H16daYZdxPulCDRGG04PHdzjEn5CpcMPicXj5hvE4204JCsKlLSbH1fNL8eZtXJ5pePTiQpQcySBAyI9/fdiIjR5Ki8eOSMBbrGb844YZePWOmbSfhifunI0V9NxzrJQu1yMJ+WgkgD+vakTloaQ8fUxGkxG/unoa3vkyvft75uCZy4owTUsvlAkjSZj7O7xo8ifbw0HANOkKN4lxiD9XLMD/VZ+JvnBb8mw/ugJVeKv1hwgTUfD1mdoJWJL5X8RbY39RCX8FhRl64b6ce0mbuvtdDZ1uOCnIwuUNi/Cp3CztJrWYBTPmQMKz2RceELCs1uUZ1cjUJf8ehIb9nbj7yb24+dkK3DRsu/npvbj1xVp82DHS1JXZrPjTrXPx1p3T8dXlRbh6Vg4unZGDaxeX4G93zcZv59mgFYKenpmIYV9LH1jOjIpwHGX56fjx+UWYRCa2yajF7Kl5+MaCDGSkhCJZLDKFBrcvK8aNU2ywUnmyMq344pnFOD+DPvIUqdDFrf6oGGg/LJDmP77AjsvmZCKfu95EMvxM0nJLMnDp9GxcNScX55ZbR4xJjI4YNtT2YKcjOkAUmRlp+NXlJESLjGQMKMRqf1uGBV++ZBJeumsmfrQoY+RMKp0Bv7ppLt65ewbuPasYV3H9TiftfWEx/nQH1e8iO4w8BiHqNI79bX1o50LzavxCOy6dm4lSA9d9sv4SMkwotuOiaVyePFw00QaL5nDK04+Wxm68WEskzN2CZM0pNXr85qpJuHt2GmwkuHhdhl6vwcLZxfjHNSWYysTK09no+o5WB16vPZiLCsocEdml84rwtYVZyLNoYLIYcBG1o/+aZYWOLdXkdSFvFH4eFzsEGrzr8Zeqpahy86I6lyCKjzr/l+4WFUXNJIBXm++DL9pNf8nBg9q88M6qLhDnTwZweNUMq5q+rAQaOgNwDZnpd3rgpCCLJjKXXb4oZVaGvHQtbGPSLUaCx2T71ZAUDiIXeH2AgvuIBzZ6DaKvPrXR+dFMJxJKsmgEVc1OvL+zDf8i6+SPa1vw8q4u7OwIY0KRGZkq+rD52yaB7yCT2TVaoC9hQ8tQlsczgli6pkBCPNuEdBZ4rDnRpjfrMDWbLLnkFQyLUYfJ2RxMuV8YMD7+dQQgTZitxcHgOMqHFk2jIBzG7nY3elJdKJTbM6ZkYnneSLNEqddh4TgbTFzPw8HvJRZFdYsLH+5ux4PrmvGHtc14aWcXdrSHRAzoAiZ/oVXK0BcKwxn4uOTshoRl9WDw1Mujxd5GF2pTxgHV1ewJWfjc+NFd25SNz8Udk03CYhCfdSKKjxrcI/IjwPVE1tH0AhNMgw0dpRrjikwQHllSdZkivkNADhVydTOIz4JUhWSZ0pFa90eocL4uzm/tfQJ9kVZq90p6t3HMSrsRE60Xi3MnC/RaBUoyDVDRt8prLdiTxOmGUb6YsYfm7gACJIk1ajny7brPNCbuQUEfQq6eSCwlGyiLPJvGMcpYWJyskEhqnIE3/j2MG0ZSRRyV+9tw/9O7cMMju3DTM/tw93/24b6n9+Dmx3bhuod24v4Pu9DN/fV8M20hSpuHF0YFCUa1Ri7GfAeDB57lTGAsIGhTkvqt4r8Hg+5RscbPh5OCZNgVJxTxYAxdvWGq1/4MKRVKzMkxQH9EmUqgrr4T3/nPbqrfnfg8WXhfenYv7n9qD24S9bsD33q/Hc280lyMF5FyQKTB2/FBBM2dIWoa/c/iSp+dZ4SZx2JGgUyhxvxSC6wpq5Auq2MNeLTsMQHQO+UB9eHgNTZDFJXRHzcERcYFuCz/d8jSTiZOY8KQIxjrw27nc6juewebuh8SRMLjFDZNIWbZP0/PGPvdT4PBQZHyM/RQkwwKE5Hubz12A/8nC0a2ljEGXyAqLAtuszy7poBe2NiEAuPInDfytET+QEnIdnV7sbNrJFuUT87H0/fMxYtfmIUX75yNl64rx0wrvYoBzXgk9te04mv/qcLfdjiwyxkWfpSUpB3mZenJRFahs8+HXS0+BHhmS/ID/6TvXBgGwx7J3DLIYBB/jMgVHRhyzWcM7j8m42IACmrWenalcQRoPNCGe4iAH9jG3VlhdFD9ytWkMZM2mWlRodvtp/r1wjvIeuTdJ9Xx0SOOYGqmlthRmVRDZ5QNAR03qZUYvPwvFulfgzMCyTRG47mB93qEBcvUTcTizK9Ar0ijNGJkKGvRFarGO20/Ff6eeIW2Wq7HPPttSNeUJ+86uZBu1sBuVIs6ancE4A+OaredshjzZOHwkmB0h+h7kYmXlW4Zu+7IJxeZkcddOCz0FQokgn48saUDww1Wi92Ei6dn4eppmbh6agaummpDnujeSF4wDAmfH0+vbcIHpGkK/0j01gry0vCX66fhw3vmYM1XZmPlF6bjR0sySLOkRA5mTZyiYOvH2O8XhCBDhDTYziNxyxAM4D9cv23EOETALCjzs2144HNT8eGXuX7nYOUXZ+Cny7KQrqB3e9ysicFQwGxIlkkI7hja3GFernEQJNDlDYFHBVLQm1Tg5niiUG4+E1m6SdT8o5RlGVkXbvijDmFFsDVtVGViuu265NUnH+wWtZBBbFhyiIQOMY56+mDMk0WXM4hQcoCtOFsHLU9tHKNIK7DjghydGIwUILn+wc5m/G2r81BGg9AcD6Wp97i92NhKDVNoywloNXr88JKJuGdeFsZlGVGUacacKbm4fWkW8tltxmlGFjKdGvmZGqhFdw0VPx7D6ro+8ELqUTGssvucPqxrCSDO3TIk1LQaHb590Xh8fVE2xmcbUZhpwuyJ2bhjYQ7KWFc5qMAeiaP3X6VEaZ4+WSZKQ57A6upe1LoPQoLBEFbXuODnrjh+JLWBWblGnEjn/Wq5ATPTrhcuO3jGE49dsEXB4L/PzfkRVHJuoCcneF0Mj5nyuIWPLM92kk2nE8Y0WfA33dxDZEHmNPuqybaNXauCodIacNOCLGSz9snTGOVyxMJB/GZFBX6/vhOtnpEfesgfxJZqB5p4muOgtzFYnHnCYTh4OiYLnjgJM70Ok3NGrl53dfvhDPJzkwdOFyjYRYUVuamZU1T+nVUdeGx774huGJ/Ljcffr8PK5o9DdXrCEXTy+2JQozMYtChNH9nd6XAF4OCuoUPU7+D3xmkNH+Aecv4TMLU0DXPZumBNgwRVW3sPfv1hG1lNw7SBaATvb6zH4zxzigmPyFJOhHdh+YmP81JiWCpIg7uiUuBxjGztFJQYlySPnLzIs2uJNHhOFNDaGxiud5zSGNNixR+KklYdIkU9AatRhdwxHxFPhlkzCvCNWTZoeEI2NyT6eJ0eL374agVu/U8FfvV+A17Z3o43t7Xgr+/tx1ee3YMbX6nHPi9dLDqkaU+WSWRQV4deqYKVz/EhIqCAL4AdzUOnRfa09eLBdZ1oj9B1R9ZdfwpAhmkTMnBBIVl1TKokWH0BP377ZhV++G4DVtU6savJiXe3N+G+5/bhq6/V4J4Xa7AuOT3ZqFLCnhoMoPr1egOoaBs6gOnodODR9e1oYGXyIAMHzOWqlCXBfRVkgry3qw1vVPRg5e42/Ivub/Eefj+3LTsdt0+3QsXT7DhdXlW/rhZ3vlAtfDntaO7DxuoO/GFFJb78diuaxHgVlZ/yuHRaDs7j+jjB0CotmGC5gIrPU6pkYM+y2dqpuCT/f5LHTm6k8zRjMYMwgTZSZL2nkRfaMU0WTk8Y3X08ywWwGFRirvNYh0qrx5cvHI97JpmgDFFDElqhguR/BCv3duCHb9TgzucrcPvzVfjmm3X4904HDpCmmGDhwrOiwglMyLFgWtrHa0nSzXpMyWTnev1CIxT244G3SRAS8Ty4sQV/eLcKdzy9F/8mzbK/KyV542kEtdmMb55VgGnsooq1fyKMXrcPv3tnP25+Yjeue3Q3bnu+Bv+q9MCjUWJ/bRu+9EItqomkLTY9ZlD9sjM/FvKhSAh/e78G33unAf/c1IIHPqjBXU/vwz+rvYhQugeDUqVCiY7eW6rPkSyd3bUd+MLTe3DLE3vx8w1dGGW+w8FBFtM1Z5XihmJSkgJsedKzZTG8sb0Zdz2zB9c/ugs3PlmB761uRy3LLFYSgjEU8fqZc/KRflhrVI495tpvI5pQIBR3o9x0Fq4q/LMYAD8VwH7pWGnlT5XDrbIye7pgTJMFD267fRGxDCEvTTs2p8yOAnOGDb+6bgp+tjAd6bzSWYxK0ofLgpy0Ugdpit2kAUe4PHyMEYxCQxbEdUvK8fT1E7Ew42OyUBqNuJ7HJ5gr2T84EUZ9pwu/eb0aX//PXnx7RQNebwqJAPN6HuDmLhUSWFHaBvOGCCbEgiy5DeshEWCzWqxOTV7DFg79GoHB1/A2fIpuQnTBfHw+Qhv9GoHYoGt4491o4NjlnEbqOrY2h0KG8VOK8NdLijGFe5A46h4Jfr6qxRNCjTOEDiJiYRWQ1afQabGcXWWoZZDp9Lhxfi4msCIutHhepevG/75F9fvMPnz71Tq83OCHxaSGkb3jDqrfwcWWKTVYPsHW736DLRx+OL3eLn8Ebb4ofFQn7G49BfaePLj8I8sEWDPs+NU1E3FdkRZySocX+ok2FIxgvyOIBkpXtCNuZ0QoJbl2PHDtBJydO9IKH17XozxOvLfB1/HvUS47JMzqHJyRdS8uzf9fXFn4J9g0xckzJz94ajl/Z0zD3PPRNepCplMTSUk19sAfUrczKBZpceyEouyxOmV2dBjsVvz39TPw2s0TcddUK0p1ClioHFoql/gQ6UvVkdC3UOMrsBlwy+IivHjHLDxxwzjMztIM7emg6xbMKsbfLy/FwnQ1LHQ7yyP+2BMKBaxmHe4+bwIeuiQfM8xK5JIVlkuCzU77wYa/QatEAR3PZe3IpEK6Ri56NwaDCTk7eT9vefR7xJwCusmg/fgaTs/KaSVPMzgKXCY/h7sPaZ9D+xErpukOKz/L3J8GX2sm8hxNOGko7/3PS5ZNqxjyPAGZHMsWj8crd0zBf02zIJ+IQIzsJOubZ/ZbKV/zyzLx4E0z8OeLCtAf8VSG6TMK8K+ryrA8QwMrJSyn6/lVMeFYjFp84cxxVL+FWGjrX0/DecgxKEXb/BgyzJ9VgO8vzECWIgE1M2iYB3oBk16N2Zl6EfgqBY16aJnY9fmIMhEKirLxjztm4Hdn5WKKSQmeZa3izIkGQO+V8pBl1OPWZWV48QvTcVWZcdS6EXXNzxPvXw3dKJaHSqWkd5W8ht5LNpUxpc8cLnhge2HGF8XiO61ibMfHPxpkWbViok2IlIbuPrIsuJ2cBhitbaaOfaYuynkG1PNrW7Cl2gmjXomvXFKCvFEGHU8KhMPY3+FDVacHra4Q6r1RRNnlhVWD3DQ9xmUbMT5DdxjMnUBHZx82HnBhR1cATtIyJ6cbMK3AigVFJhIeMZE+B51lSafmD58++H6ZkEAfWWo9rHHT30zGRp0amVS3g4kpGomina4LxnjyIwt9FkQaGAZLerrX6Q3BkbRyWG5xWlmGj4VdNBJBq7vfBQjr9zIqL0eF0w4WrqQNd5IZz+P+MtK4Waza6Vm2YcTDefeRhdnhjwrhzVaGXqcSpDZEVg9CPBzCnkYXdjZ7sKs3BDfV1XibDlPyzJhTZKV7Rx/Y6e3uwwaq360dfvQm5JiQpsOMQivmFpqhTvD01ZBwEc5lEoKVBL16WCaioRC21vRgQ5MH+zwxZJs0mJFvxsISGwrMycVoVGnc393JZRJ1SMqDRiXSO2g7oOe3tnuwo9WNve1+1PhjSDeoMS3DgMkFFkzLMYwk9iQSsRg6PGGQISLynpDLxb1M8oMRCFGevBHw5FfOo0qpRBblaUSUw9MYHb0B/OvtBvTSdzKzxIJrz8gXIQKOB6R4FocB7n56bGUTquljLyOr4osXlYxBT7MSJEg43RCJxvDX1+pQ3+VDnl2HW88pRA4pFccDUjyLw4DbH4GbmJtzm0Ea+JgLnyrhuCNOmvS6rr9il+N5UnLJipEgYQxApVQQOSTHLYIxsZ0OGLNkwV4dXWSis0+WdDLjyYxJnpFwOqDJtwn/qD4Xqzr++P/Z+wrAuI4z/98y72rFbKFtWWamxIkTx7HDnCYNp017ba+95t/eXXu9Xu+uvStcuU2TNtwwJw6amdkyiJm1pGX8f9/sri3Jki1TIsv7S8ar3ffevHnzZj6Y+QC+sBMkHcWOJJDAFw/2+eIx6Q+EL5lkSCOWAnfb/SKVqk4pRTppFglacWmAg80dsr6LV+sehNVfiyXZP8SslPvpSGIAJDBykE7MggVZXyAUNe9nY4NRjhHJLNhcj/Pd8sYpLz+ljsT8FQmcd7iDPdjU8UesaP5ncMrNJdn/gVmpD5GgkFiCTGBkIUmrgEkrF6blFmcAgXgEgFGMkcksiEt02JhZRKAiZsEmnwmMbnR6j+K9psexpetPpF0EcHXWv2E2MYoEEhiJYCdhs14prJd73QGhYYx2jEhmwbGg2CGP1wQ50ZHyTA29E7io0OWtwtuN30J17xqEESKN4sekUTwYO5pAAiMPnNdCryaNl5iFlTQLt8h8NroxIqmwrdcHvz8sbOjTDEqREjOB0QmrvxFv1H8FPd4ayKDAlRnfJ0bxQOxoAgmMTHA0YTPRJo7+4vAE4LwEcluMSGbBnNof5AwWgJHUPcUp4vFcLOAltZG0B8bt4T2hU+FCt9nqb8JLNffAFmimySfDnLRHMCvt4djRBBIYuZCSJJtmUgraxHus9kEiSo82jEgq3O3ww0tqHZvLGrSK01pCBXwB1LW6YGOP4kHQa/OgtsNLxC+EpjYHarr9/WL6DISXpASnJ3TKc84MEXR2OLCzkpPBxH7qA5/bh5oWF1wDNdlQEA0dLljZ67oPIuEwWjvcaHcE+3vNDBPhYBBHqyyooD4ZUnmmvqqqtWBP84lQ3ucT3d5qvFJ3H3qDHSQUSESkUs60JpckjBkSGPlgkmQ2qESOC46GYHf7Tyt8XewYmctQrqAIqqZVycRG0ukQCQawbW8bNtS4Tibw4SC27G7FhgYv/R1GbZMdRzt9IlzQoIiEUX20ExuODZHs/qwQQVdnL3bX9cI9yI3DXi8+3dqKve39g5I5ux14+dN6bGnoT7A9vS58vK0V1bbQWRmURoL0jHU2VHKO59hvJ4FGfm2DFfvaicnGfjpf4PzMH7f8EFZfg/jOGdTmpX0dGlmS+J5AAhcD9Go5ZDKJCMjZQwIuG+aMZow4ZsH9zdEcGVpVbBPpNFDq1JiYq0ZDk4MIUP8XxgS3yg7MKDVAIpNj5qRMLCrWiXhJoWBIZLxighmmN+72heDxBNDa40FLjxftdj9s7hARS87xHITLH+4nPQQCIbomen0UEdJKAmLgOGPZ/eLgzXoOOjcYcdeYdRhrlqKqsbdPsp4ImtpJ2yANq6XTBWef6jranPCp1CjJOhGyndvN9x1wW4Sojc6YxhXm5439zYNcNrBriZlyWHiHiB8lJRU72ubjj8zHHT5YiJmf7bTwh13Y0vkXtHsPU91KoUlcmfE9ZGnKY2ckkMDFAQ0JsyzQcgRmXg0Z7b4WI45Z+Ik4ujxRZsE+FsML8yFF6RgjNB4PjnX3lc7DOFLrgCrVgHFJVI+fNJADHdja6BUEvrvVgvd2tuNoswPvra7DhwetaGwjzYPq6O5xYvXOVmyqcSJCjOTIkXa8d8AGT3w8kAbSUN2Fzw5Y4eLfQn7s3teOd7e1YeXuNry9vgnrq4j4D2f8SOSYWKCDrcuFTs50xwj4UdURxOTyFCh6iXnZY3pOOIDKFheSMw3IIKUr5PNhx75WvL25FR/vaMNbG1twsC2uDRDDaerBuzu7UNlkw1tr6vHBYYfQoeNx4eLMy9bVixWbmvD+dq6nFdsq7fCEiaHQCXyO3+XB2h0tdLyNtJpmvLerCx3uAZzpNOA2HbC8hV3dz9HE4vckwfz0r2Oi+WZx/PwgAh8vI7qJudM44tJLf/uHVCUTSODsoFbIkaRTQhKRwEN0S4R2H8UYcczCw5IwTXCWxNlkdrgxodRJOkxIl+NgjeO4dB50uHG4J4yyIiOUTPGIwNt7fbB5WVugryGS2ltsWFdhgynHjPljTSjMTcLEDDWy0g1YNi8HV44zCKssltxtnuh1UUjgJw2ICRGnGEBEiuRUHRZMzcAN8+m6Uh2OVHRij8jGNrhG0RdpWUakhr2ojmXHsXc70R5R4LIJKcjQhFDXFf3d1+tGvV2Csjw9qw3YsLMNxK8wj+57/dwMTEyTYdOuNuxqjd6Xn7G+0Yr1RxxIz0/BolK9SKbWVwjyWnvxwbZ2+I30zHOyceVEM3yWXhxo9or4/axb7D3ciWq/CjcuyMXy6WkoMNMk6VMJO9G1uvfj7zVfwm8Oz8Az1TfDG+qfza/GsRZr239BtdF1kjDSFLOQK7mXNDmfSFE5VGGfGweNicHyPQxEhJjp5m2N+POHtXjqkzo89XEt/vxpEw50jP4NyAQ+X7hC7VByYqc5v0dE6YZ7wN7iaMOIYxa8sc0ZqDifCzMKznc7PMgwocCAAGkEtXZ+aRHUNDvhUagxPi22XEO0hq0YmPhzrVxcJOAWFabgyvJk5BjZp4NUS2JS/Mn7JRxuhCGhiwYaZTFDY5d/rpeoKnLTtVCSFtJl80OZpMUYI7WhY3hxY2QaDUoylKhrcolN57pWD7QmLbIMSoxJVqGbl6LoPi30TCH6vSRFhrZmGyqsEiyekYGiVDWS9GpMmpCO2ZkybDtqhZeIK7szkkKF8WPTsGh8ErL0ctHcKKJM7GitBb0aA5ZOTUY63S89WYfLiCGMMUijCYz4CuKIPmKY3RyvS63G1GIT0vVRRs7Ef6/lFTxVtRQtnn0illOX5xi2dj4hjjMcftLMmv6JNDoWBCJUDGhuvBlPrGjH79+vxB/erx60/J7Kn1bU4unPGvDaJmKC9c6Tlvj6gZpqs/vQ1E2MJlYaOf3lsFS8BBI4PTiY/lH7J3imfiE6JZ+SJDkeXo9ChHcfzRhxzELsGwgfCwlMGt5AGn4TkzKNKNKFcbDBLTa9a9o9yCUJPEnFJPFk8Bqj0axBUYZGEE0Bpov8Qf/0JUlsRson9a2pr5UWbzqv3dmODUcsONLUSxqOHc29TPaHSaSossJsHbykOTTbicj1BpGbrWXuhowMHYIeHzEhL46SppJLWoiO6rXaSfI3qpGs7ttHUmSnaRCw+0nyCYtnTErWEjM5OSVttP3E3Bx+GOkakSgoBqlShVy6hq+PUJ3Ty9MxJRnYsqcN729rw5ZqYsTxEAfUNwZ5JtJV4xEK++hsGV0TwiHbe2hwbhenbO76kzgm2BMxWJ/lS3C3lNG11EeiwwcvrAX5SIPjfZudh7vx2toGvLK1A02ibwcBVc/7MWzSGC8scDBPT2BkQmRBDIQQCPbfExyJ8IV7sa3rKbzd+A/QyHVI8f0/2KpvgNtJgmdsr3W0YsQxC9YsBHmilnFidCG5DxdSBaaX6mFps6KisRc9IRnKiAAPFiwkOiYlpL1IoRqQMYzGLu/vnugcQd8kCPWlT/Qbe5qHSOJWEEXbv78L9T4FrpqRiaUk6S+emoqiZMUZbXolpxqQpQhh18Ee9ESUGJsStQRLMqmRoY7gwNFutPpJg8rj2PkSkQAoQKqRa0BcGl5qk1HfcaIhTigkJw2NCehARCemBHqVDHarD/1ssUKkRTgCgqHwaQqdGpfNysFNszMxPVeNmspObG/0CC1IQp01znQNluf8FEZljliS4uT8Nn8jSWAfYUfXszhofZuUE36zPkQCE+BrX0AMPZqpjzU0bgffZ2DhE3gMMNFngwcJvYSKI114Z0cnejhNagLnFRGfH9uru/H2wU5sbfNE38FAhMOkAVvx3oFOHOjpb8EXRzgcxMHaHry2rxO7qB5WUD1OFz6t6MR7hy1ocsYJawQN9e34/sv78YOVTWjnXOOngNvtxYZjXXjrQDeq7J+vJG/xNeCzlv/A+vZfi/G9LOfnGK+4AxG/X+xZ9J6m7Rc7RhyzcPG+AFExJiBqImJnivScJKSGPXh3pwW6VCNyDIPXESedTDD7STN0XxXRaM6n0esLixDEkMhElElPpyNqdkuTxdLlxMEmN2clEZ3I6V95QqiJoDF/s1s8aKaJFE2qOTwotUqUpMqw55gNcpMWadpo2+VqJQqS5dh/xIqwQSeWhxi5OSbkyv1Ye8CCHneI2hVCa7MFWxp8mFiaBC1pZUMN3+gjM/GWoKwwCeixYT1pCz56CJ/Xj/0kxVd2ByAnJiOlp6iqs5JW44U+SYMJ+QaYFBE4SAvs23UFhgWYmXI/FFI1/R6GUqZDpWMlNnb+jhgwEwfS5BQZyHLcirAjhbr1hCTG/IL7rX8hZkfSpofeQXRhkbUG3scCamst2FrnFtcmcP4gifjw1rpKPPrkHnznwwa0DUKP/UT0f/dhBR55Yi/+e2PHoCbmvT1W/OiVfXjsmUN4p9Yl3m9bUwce/tsuPPTsYaxs9cbOBDq6bHhqazOeOWSF5TTLhW1dPfjxy3vxyJ8P4I0qV+zXC49m9x68Vv8QKmwf0FgM45b8P2K88Tpo1EGiF1JhQMEMYzRjxDELDkvOxJsHl0515gEEeflkQo6G1FqgMFtL0nXswADwkBx0WJJKU1yQBJ3fjbfXNmJtZa/Iz58/JgXz8hXYtqMZr61vwSaaADqDiggyMRQiuDOnpCNHSkxqQws+3NGKvY1uIdFH9zn63GnQm8ZAEnpmug6pvE+RromlQ43+np2qgY6YSXGuTuSSZii0GlwzOwNmvwvvb2zCa+ua8OnhXhSNS8fCQu0JWX2oe5JWxIeSMs24YXoK2qo68Qo98zvbOtBFms24HBUxID6RziPpaeeBNrxGx1/a0Aa3Xo/Z+dqTtLbypBthkGfRO2Q2KYU7aKH+8xLhl9FvIaTIx6JAchmCwSgVEl7idN6EcWm4a1Eu7rwsB3fECv996/xMzCnQQUUtjStprMnIiDFWNfTCPdSznQuoTWzZwssiQggQS3HnBtYwg1RXvL7zhb71sgFAP8HnbKDWY3Genvo1hEOkPWxrO0HU42jptGMLje8eOmdjtQU0FUi7JY2h6bvEBP6L3pMPDQ02bGohzSRJi/n5OkFo2Mk2h+ZMukEBU5+BwwKAQkFzhYguCwmngpzqMOsUMBrl/eq4kGjzHMIb9Y+SZlFH3yS4Je93GGe8RhzjlQm5WOaMjPplqMFezXES9UWkVf1kRztWkurKNv53LcrDtOIzd9TiPNIWdxgmvRL9lBPhRxBARCGHmaT2AKncVpoLHOMlto8dA0kJbj86HEFiCGqkxnNLEwG02vzCUzwlWQ0NTRYHaeFJNPj5NpEgSfY9HviIMHImLeJ8cNORFLoX18cRAZJj8WSGAvtCsNWVRqOAps/mPpvv9rioPfz7wET7RDi7rFQ/cTWzUQWz5sRDe0lL4JzyfN94PEb2AHdQY8Js+kdti9fm8wbQQSfLVSpk0kx0u/zwkrqdEnt+r8ePTrsfIZkcmWZVv/b1xY7uZ0lV/xX14gnKxSxBJdPjnrxncXSfCSsqbMTYqUFE4MJU3/JFY3AFMbhBwU6XO1vwXoUDESIsfNcgaRtJGUl4eFk+svo4fUfCfrz/US3Wk0is4vYR9fRKFLjlqkJcnn/yvk1fcF+1d7tR3+EWFlpWeg8hklqSaBxlpWgwJlOP3GSlMIAYHiJw9vpQ29qLWva4tweEYJGkVyGPhIKxuXpkmRSQhkJo7vKCraa5ZvYIlinlyCZtdnDlOgKbw4va5l7Ud3rQ2RsEr8hxaJzMZA3yqe5sGn8mGgeDv6FTw97ShmVPHMJWpwz/79aJ+Pnl6SekShrz76yswJc/aqWxLUeyWYkf3d4OT/h7JNwYcE3Of2By0s343Su78Z31ViycV4yX7ipBvkaCEM1LKycBp1bp9Dy+udYIdu2qxJIXqqEqzsPahyagjBjBcdD48BDjZoc3DceICwVJ6w8ScyRhUhigDNJBNL4DvDw8yNLrmaLNcxAv194v9ipkNBeWZP07pqfcEzsKVLc68fKaJnQ6fFg+K4NKVuzI+UEireopQE8lpE2WHs822qyciGC6aQCjYLBUYlIhOUYglSolMui8/oyCIYFGq0JBpg5pcUbBoDaZaQIXZmphpIsUKgVSYoxCHJbLkJOhRxFpBTwRNKQJMKNg8N/cplMxCoaU6mDCPpAQS4hIcl6PkxgFQypDGhGzogxtP0bBUKujz9i3KyXUDybqB2aYfWtTqRXIp/ZnJxEBIyKpJ6J2nFES1Bol8olgFqYRoxyCUTDGG5fSKIsvHEURDPswRjcP6dpJNP8HSGB0WvBUIrFcgaklRhiURHDip9HtWQqlV3LOYPPiqppuvLGmAU+vbMIHe7qxu96B6g4X6tpd2Fdjw6ekLT73aR1e3tSGQ+3e03r3h4kwVhzpxAt0zd83tmHjMTsq21yop7KvyoIPtzQJC68NNU5YLL14c2WdMPd9khjdEx9U45mN7egcLF0nEcvDRzqo3nq8srkdm6vsqOJ62504WGvDql1teJ7qen51E1YTQ+5ynrkDpSnDjKVjNESW/NhRb0Nbn72hgNgzsMEdUKEwy4v7rngHvsj3oJUn4frcX2Ky+XYE7A6sq3YANOYvK0lCDjEKhsfpxLNr6vDTzW04RgzudPDaevHEp8fwzZcO4VdbOuGgIeWj+7+xuQE/XdOM3db+/eN2erB2bxN++v5RfP+dY/jTpmZsbuwlgfDsloeaXLvxWt0jglEoJErMS/0aJiffHjsaBTMkmk40HCViCX004zxMtfML9rEIE6GSSkm6Op1OmsCIhFGZjbHMMEgT42nkD7tRarwKS7L/nSlz9KQzhJsmovCzYEGCvvOfOh0xvHNcigiRdrl1dyte2dCKXU0eId3zZjpHOo46hdLfxBhZ0w36A6io7MEraxqx8ojjhIPmADCj2LmvFa9taUelJUAMTSJiCHF9vL6tor95L8hucePTrc348CA7e0YdIPnhhh71ERw72kn1dqLOGiDBIuplH/XGj1p+Cb8Y0kIbmu34YEszttMznTHkKiwZb4aOGP6xJjuOdJ8w/+7qtGFHZxAzJnbjgavfwJj0D4hpmzDO9HOMT1omzqmq7saa7gBSUvRYWGA8Lky5bA5ikFX47bpmHI07mQ6BkMeFP398FN95qxIrql0oStOC5Ba4HW68sr4WvydmubOPA26vzY7/eesA7nyxAv+2vgl/2NSAb75Rgdv+tBv/t737jEP31Du34Z3Gb8Id6qH2y1FiXIw5aY+eFLuMTey5z/ndiOXKIcbEaMCIYxYipAZ1OquXg6qYCVwUmJlyH2kLASGVzUp5ANfl/i/08jQ6IjZB+oOoo5w3qQZDOISOdjs+3m+BMxi1jCKVGmGpAmWFBpx6YenUiJCUvnNfG1bst8IWkpAgTMSW2hEh9YX3zti4gQtnQQszMReb61L4XF6s3t6Ctcd6TyZCxCCrqzrxyQEbnGHSLok5sJbGRIT3QLhen9hjIKZHwzvo9eNgXS966TuHVuFz42Ug23BZnVh70AI78Vs11SuhSkNhCXQaudAoOeYX188Rw+SkgRpNWpRm8d7VmUKCKWNTMS1Vhq5uJzY3u6PaCd3vSL0dycUHcNuC30Gv2QZfUIbtlV9DdfeV4kp6SmysssFB76oox4wZmSfekJREcKNeCalWDtUQgqB47pAfz3x4FD/Z2Ims4iw8/egU3F9uApNpZry8/AS9Aqrjy0whbCWN4okdPUgvzMb7X5uFjd+YjqeuzcMM0oKNpOGcCaFzBXuEj5Aj0CoYhUpmxOUZj4tl1IHgFohC/7i9QbF/NFox4phF/PUzUWAHugQuTqRpxuKKzMdx15i/4ursH0InT40d6Q+e/DIisHsOtuOF1Y14YVX/8sxn9XhuTTP2dvghZeJABMtPRLhsXArm5g+xxzFMNNX24LMKB3wSkvZjhIc3ihVqBcYXmrF4ahqunpSC8RkqKIjJRR0Uo5oHL9Fs2tuOis7+pqPuXjc2HbbCSsRS7JkQeBOa9amcLKPwkP/ylXm4c24mZubpoKX7spY0HBLT1taLFldEaCksUEWIYc6dlo2Hry3EI0sL8OBVubhyrBFmoqreABH8CWkYy2FuzgK61CTcVGRA2OPFzjo7SEESe0f7Qjswb/ozpBm10buQwtv6Nby3vgxbGjqF6XWkx4FPG53E/ZW4cpwZGQM0v1NJ3rwBLif2+87KI3h8QxdUWWn45R1luL5gwHvmOvrWQwJFU4eHGK4EBblmXD8uGfNK0/CVZWV4/Rsz8I/Tk4ZN6AJhDzZ0/AaN7m1QSLXEvBS4Ke/XSFEVxs7oD6HNkRDB+q6XBIvRHExwRDEL9rFg6UuA5lmCVVy8UEkNWJD+DYw1LYXstGHHI2jrjO4N7KvtXw41utHlJqlbMAo6VSrHzCmZuHd+GgznsAQV9rqx8VAPaRRAXIENkgaRmpGEL11TiIevzsN1s7KwbG4OHllehLvmpCFDLREaAYOJhKfXi23HbDix/B5Be4sDdfagsJARv9DpYWrzrKnZePSaMbh6ciqml5gxZ1I67rp6DO6anYJUFWtL4vRTgEPVBAXjYRmKlzzkGiUm5huQl6xGRooWZUXJuGHRGDy6JBfLZ2ViYbHu7OeQTIkrJiTDrAhje50VdTag1boJocxfEVH30HOpcG3uz3C1ZhlkPi/2NNhR54mgrtVBjN0HY4oB1xSZYpUNA6xNkUbx1ppK/OOqNrhVanx/WSnuKDlZmj8JUhkKc3RIU0fw0aYq3PJ8BZ7d1YmqHr/YV1Qf10CA3kAHuryV6PHVxH7pjx1dz2C/5XX6i0ljBItI4Ck0LBTHBgO/i7hMO9pl2xHFLNhcMW5WqKEZzFEdE7g0wMxArOefVNiqJS440NiQREjADaHDFhiWND4U2prsqLIQUY8REh57miQ9blmQjfJ0Vb+JIZHLMak8A9dPSwEb6gh5hoibQhpBU2svmo4HeQyjsdMDD30Vy9iEIGlNhYUpWDYlGfoBxgkcBXnChAwsLjXQ/fpGLx4MdC1xnujsYHNTYlxukoIPdaOy0ws3SbVRSJCemYRrZ6QhU3Mu01uCkoIUzDcrYLH6sbNrJd62fY+awPsXKsxN/zbKTDdiWkkypidL0UxM4hD1xc5GOzq8EZQXJGNmWtzI+3Qg7VIhR3ubBf+2vhXNpKKwL1NllxvCeOq0kGHhtHz84IoclKvDWLG9Dg8/twdX/2k3/unDOlSSROAPO7DP8hper38Efzm2GE9VXns8ukAcHORyY+cfiOjLScNwo0i/SGzYnwr8PuLKBC8BxsjXqMSIYhZimZbAnc+TmNdwE7g0wGu97BE/VIlqnBLhwX3gcAeeX9kgfGDOzok7hJoOj9gD4SHGVfA6f1lpCsYlD6WuSFFabMbkDKUwPeZreJnU4/Kj2eIT38OhILrdAQQkUjGx2KpPSlpFWaERQ/iG0iPJMK7QgBRijKfWLiRISVYKxskESUKThZfvjlZ146XVDXhlYyvWH7GhkdpyvmxyjCYjlk5KxpXjt6PT/z14Ag5wxIJs7VJMT7mPnlEGXYYRywt0cLndeGtHE96hd+JVKnHVuFSYzkDW45keJC6ro3t+dXY6suDDyxvr8OJRx7CEAqVej3+4fgJee3gKnrxjHB6ZnAy504k/f3IM//BhI/ZaN+Cthq+JfO+8B0FvXiw3+cNOcb3F14h1Hf9Hf/FSUgApqmIREVktM4jjQ4FpVjzenMjDE18ZGYUYUcxiIM6KDiRwUYEJKq/3FuQl4aqpaVg8ORVX9imLp6TisvFJKCAJl6UIJuoKmRQuhwufbG3BjubhBWrsB/bDcQUQognORIqptFSuRGmWWhweCjK1EmMyo86SLNDwtWx2y747gmlRPf5A1ForDnZGNJ1GwmefmiR51EHyVMjJNgpmxpvu4lyiVBz3yu3yoaLaghXUHy+ubsTrWztQ1S9U/9mBHVwXzQYWTvoAOmUvMSliglIi5JpvQC+L7SPI1MRQUpAiCeH9/e14v9UDtdmE5WNPTWT7I0KMNgSlQY8f3zQev761DP84yQRXjwO/WlWH/WLD5NQI0Dv1SRUoL07DI1eW4vf3TsGLd5VgfJIEqw+0o9s/EQvSHyNNLzpe2DS/xb0HW7ueFN83d/4RnpBF/C6XqDEj5X7kaKeKY6cC7x8ZtHLBvNk/hsfFaMWIZhYJXAKgyRWmCTq+OAXXzszEsllZwrEpXvj7DfNz8dDyQlxbpodCMAxAoZAj7PWJ6Lq2YS1V9AFJf36OXBun6tQGqbC+O910kECrVoDjUsZpApN4b2z5gX1h+kZJ5r/CEXayPLW06eXw96RZnU6RVuh1uGZ2pti09lH746aavMHKS3ZS0jSsNi92HuzE30nbWFvjPKelOm/EgXrpy1CpG4kPKuheKvS6vofJaUWxM6IYW5yKeWYZXF4OAhrBnJIUTKHvZwJOPmZOM+K6YhN0Wg0euKoIV+UoUHO0Hf+7oa1f8q+TEPLj9VVHcfdzB/HuYQus7iA0OiWSqE9EB6nkyNIWYHHWv6LMtJxev5feDRF3GkmNzl1Y2/ZLVNjeFVWxD1CmZgImm28V308Htt5SnO7FjRIkmEUCXzyY8tJIZAu4qM9An0K/sR27TqvGnMlpKDbJhCkrg487ul1oc57hwgvdiy2rjk9x+oO9733DqIZjALF3cBwR+lvJddFPEil76ysgIyIuaBtLm1TvsXoHXEMROyLwR+p7YSFFYDiTMTU7Gfddk48l4w0wk8YSIiIrzHt5450JFzEroW043Phocwu2NA6dFtcZ7ITFVw+bvzn2S39s73wah20fQEb/8Us62nobUdMrkD5gpc5gMuKyAh3gZm1GgesmpEA7CP1kLdLnDyFM7Y3ZCQjwpj0btwiTYuoPRlZeOn60OA/ZqiBeX1uFP+62Cu2N6/Cz+zYxy/iKT8Dtw5HWXqzc2Yjb/rYbs36/HTN/tQWLXqpEjVOGR+bnoNxIWoDUhNmpD8GkzBVLTXKJCu2eA9jZ8yx1XZS5sWHGwvRvQS2jCxLohwSzSGBEYCiC1hdyhQI6DvbF0iKBCXQgFIR9eLugJ6CUw8Se9URsRE1UUcgfQF3XyXGQ+oH3JCxeolMctD16LWsTJr0iGseLmEV+ugY6OWk/sQeiw6ir78EnB6ywuPtzI5/Hj4ojHVhbFfXX4OcZDgxmgwiP8vDV+bhpZjqmj9Ejlb3xqV/YcZHrkctlCHuimtfAVRxPyCosfl6u/TL+dPRy/K3yWiKaFbGjUezpeRlbuv5MkrOSnsWLUGAmjlYvx/LSk5eXpEoFrihLw+x0NaaUpOJKZhyDQCaXoyBVi7IUNbR9NDCOpDA+TY+xItJA/Hep2LT+xtwMlOskeHt3K6rdEaFR5idrMS5NA7PIaEbsyWDAv9w2Cc99eQK+OiUF6aQx+Ik7TytMw3/cPhH/c2WW0AYZ2dqpyNPNoj6KvsG4yYAQHejPHN10FBoWiN8S6I8Es0jgiwfN0+F467PHc5sjSDQ5PmxZoqfrhktl45DIkZesgVoaJRVcB8fnPXTUguYhVQDA2uVEBQfHI0LDt2SJmH0yspLiIV8kyM4xosAsP77RyZufkmAQ2/a24uUNrVi5v5sIuAWbDnbi3Y1NeHNHD7o84WE9P4M1iVjNyEgnKXhaJu68Ih8PEuO4npNXsbZB7WJwjnV7jxtdA0JrHLF9gjcavgqrv1E4mrGUvbHjt8Roouv53d4arGv/BT2NjI75kKoqxaL0x/HcXVMxJ3UwkiHF1Clj8NI35+Kte8dhatLgRgKmjFT89muz8Mb9ZSS9nzCnHj82F698YzZeuLUY+bHwOAyZTovv3DgJb/7jbPztpjFCozEkm/DjL0/HG1+bjBvyTuwx6ZP0uH1BIZ64ZzLee2wm3v3GDLz5wCT84PIspPXJZyOTKDA1+S5i6CnUj/3fNS9LXZ31A/rrDMfTJYIEs0jgiwXNS5aInb1+dDu8IsHTwNLW7cahqm58sL0Tbe6wsAhi8JKEgqTVZI4DcUaQoCDfSFKk5LijHVveOXrseGd7BxodJ69HWbsd+GRXJxqcIZLa6Qe6N9FtZKbrkc9ecDFojDosLEsG08t43m9mGLIw54CIxph6a2Mz3t3Wjh31LjgC9DwKKWkmp9/gRjiI7Xta8e6ubnT10VIUKrlox8LpmbiiRB9dBotXRn8MTEc7Rj8b05K/hEA4pknRvWudG7HH8hK1IYyNnb8VzmkMdkyblfoo5udMx/hUxUlRhuNQknZRkqlHcbIqGrZkELBmWJShRzlpBUbeTxCQiJhj4+nacXStagBF0upU4tjkLNKeiOhz7LS8NB0mZWqRPPBkBmkeaWYtikmDMWoGby1vXPNzxTVUBkdGnmq+S1hBJTA4EswigS8UUak+jH2H2vHCyga8sPrkwmayr2xsQ0W3Xyz7xGkRE+sUIhxD5Sw5FdRJBswvNUBGlQiyS+1ghaWhthsv0z1X7OnC/lo7KmosWLW9GS+uaRH51Fmr4fsL5ziVCtPHJiE5thwiQPWUjEvF0kkmaOi5vMHoJnQ0PpREmIQLU0vWJOiAUqfGgkkpyCVCyM9zKrQ1WrChwooNe9vx/KpGfHrQghZbAF5ev6eLXS5iuBxNmM6lZvC/YuNeOyBsDhPEa7J/jEL9AqFN8BvgzwbnVqxu/R8cs38iKghF/MjVzcCEpOtiV44OsJPo/NTHwP4UHDY/QM8+Oek2XJn1/dgZZwbu6z4jYNQiwSwSGBHodQfRZvWjfZDSQ8eCNB05widPyvgmp1KnxYKJZujOahRLUF6egdm5agT8IbHHwIyL79HT7cK6Pe14dX0TXtrQKohygyMIjg3FNJ4td/wRKaaWp2HWmD4peWOQyhSYOz0HX5qfjkKTTPhliNwYVFiTYabAwr4pWYfr5+fiajYzpWeK8wo2vmXzYBKij8PncGHNfgs6fBGwr2pHhxOrSEt5ckU1nvy4Ds9/Vo8nP2rAhgYPJPIoQ+N7paZpkTpIBxkUmZiT9gh0ilRhAaSQalBPzIK1C4kgohHo5emYn/YPUEoH34O4mFFiuhoaWRJplGosTP8Gluf+71ltarPW5vGxKTMPoNiPoxQjmlmM8r5PoA9YqheOmIMUsZ5PxIuJHzvo+UlaNybpsXxeFqb3Wfs+Uyi1Giydl405xDCENRQRc16Y4FAdzDToloKoM5Ngiyf+gZlUSCLD9EmZuG6qmbSHISCTo3xCFh5cWoi7qJ1zi5MwNkeP4mw9JhWbsWxOjojntKBAC5fVgy56Lr4Fg++pVcj6Je5yegIiyCYvVrEWwdZc7CXO+cmbu1w43OxEmyOACDE8kbecmaleg7mk+RiHULw4ZHyWZnLsGzOpKLuKsmQgTzcT+bpZ4u/RBi0xiutyf44vFb2IRZnfJSHgzLVTBgsAvd6gGCsKaVSYGK0YUcyC+luAGyU8d2ObhAmMLvDmr8fHNvnDKzwWWNfXqOXIIkl5/pRM3LM4F5cVDR77iJP/96//hJnlQBiSDbjx8jwsIw0lQyMTSZU4IBwTAd4o5rAT3F4RtywEpKbocc28XNwyM1U40g0FdtBiGE0aTCcN5PbF+XjomjF4+JoC3E9tv2pSMnI4dkg4hGNNTpEYi8c918iOh0aDkiTdE9MzJd2I267Iw9LyJGTqSfIP0XNRO0V2PDqf7f35Lzaj9VB7jUk6XEuMcFr20HF5WZuYnnwPaSqG44wiCo4/JcfirH+JfR+NkKDIcBmy+zDLswG/L6Ft0us26+QiZthoxWCjPf7b554pjwf+M5/Uo6LRgWyzCl++agxyUoeU3RK4GEHEt57jMnX5ITkFsT0OmoQc2lpPhJwzwXFiKJFtcKhLI0R8q6yod4aOayT0F8qKkpB/ijycTHzbO1041tKLxm4vOklKdxLDYYdBo1aONJMaeRmc3c6AnCTFoBPnBMKorrag0hHBxCITck3KwSVOuuexY114d3c32OGa6QwvWfklCiy9PB9LSqLpSPuCNaBO0kRq21xo6iaNxO6HhTPHEa1XKWVIMamQk6bHxAIjClKUp2knzzkv/nRsEbxBO/Hj6N14/2Jm6oO4JvtH4nsCQ8Pa68dzKxtEJsTyfD0eJGFAHbfAOA8YSZnyBhtL8d++kLSqT39ajwN1dpEW8j5iFtkpCWaRwOcIYi5eYhKsXUSldl6WkgoCoDmth3cUHODv7dUN2NrqR4pZg0JiMmPS1UgipiNSskbC6HUF0EiMaX+jExyHMG4cxMHojKlGPHBVLgr6phc9CaRFkMYkluVCUQ9y3jTnpE0cgDO+pDUcbO96GmvZVJa0EzajnWa+m7SKH5DGMfr2Ks43Om1eYWzQ1OXB+Fw9Hr529DKL4Y3+LwC8Ls0qdQIJfK4ggqlWy5FE2ksqSelpnH6WNJrhMgpmNs0tdhwjzYk9zHsdHuyr7Ma7m5rx4qoGPLuqHs981oC/r2/BhmpOenSCUYSIUXA48+njUpB3SkbBkEBJmoSB2pZijLYzhdqsV58Zo2CMM10rGAP7IFyR8f+wNOcnCUYxTNArE8uV/J9BIxeGCaMVI+7J2Daa11/FWvMlyCzYCoXX3Dksgoj/04+3JzDSEQkEUN3kRI+XyAe9S95PEClPqchoXHOoEo7cGk2BylvJ9D22cR+WyzFrUgYWjTXEnPw+HxgVmSJ/9n1Fr4pIq7xfkcDwIN5xTB7ndxrNcDg6MeKYhVbFZn/RF8C27OcbnGGMrWri5YxAp/M1HIeHP89/60ij8viweV8b3iRJ9O2t7ag/Ta7ioeB1eUUC/73VNuxvcMLm68947VYXdhzuwZaKHuyl496EEnd+QAS/fFwalk4xoyhFBTUxhHDMdJYDDrIAwIIQ+0YEiEGwVCpXyDAmx4QbF+bhlhnJImfG5wm2BOIc6Rma8tgvCQwXLNQJb31iEqN5c5sx4p6Okx6xAxNbk4iAYecVETTUWfDqyno8v7oeL65twcEBaTGHQpgkxh17W/A8XfsClbd2dMF6vptHCPqDOEpEfssRK7YdtaPLfXZU3N5pw+vrG/H8qga8tqlN+AmcQASd7Xa8v6kJr6xvwmeHbEMHukvgjCCRSpFNhH/5/Fzcuzgf91+Vh5tnk7YwIRnTC40Yn2fAOCqTi0yYNyEFy+dk03lj8OUrc3F5qQGaM11DSuALBQuO8WUorZpo1yh+fSOTWXCHk9jOm33nFxHYrG4cqLVjf60Deyp7sHJfDzp9p9MRImhpsuIzOndfvUN49h5udl8YaZyenTdUWUrhcra0gzUoLzFbNvkUuYEHtJUXQCTU0bw0wsw5gfMMiRTmJA1K80xYMDkdy+dm4/bL8/BlZiBU7ro8FzfOzcKVk1JRnqdDSp+YSAlcPGBjCPZ74fmkSmgWny/YkoMXongFignd+QZvOnLsfzUxJZ1KKpjAtpreaMiHIeB3urF+fzcsIQn01D41Xc91XDASSxUzwzwXKUVj0GBmqRnzypIxs9iI5L4eXgyqOx52IsErLjQkQgDgsa3XyEXR0t+cOCfR9Rc3XMQsAkys6H+2RBvNGHHMgm3FeQbxnoXLG4z+cYHAErU0HMSuih5UW4bYG4iEsPdgJ/Z3BUjSP7upzZtgPJ7OB4Zblyk9CXddWYAHlhTgnsuyUHAKH4PhInrvC/c+EkjgYoPTExT7T2wtx4LkaMaIYxZatVwsjfDmtoNz2l6AfYE4mPhx2ASn1Yl1FVYMlkOnq9mKdVVORNgkjto0XFIZ8gfR0t6LHRVd+HRnOz6ksvGwBdXtbjhpcA0XvFTEcDg8OFjZI+pasaMdm47a0GDxiTwIg4GdzHpsPrRbveiw+0VAu7NDBFabB4eqe7B6d/Teaw/24GirG71nlwA7gQRGBZhGxZfKeaVBp0kwi88VrJ6zty5vGjk8HGLh/G8MMPllMsd26irSLhTSCCqJGG6rc4vjcfhdHqzZ140OXzTuC29g8bLkqUlkBN0dvHnciOdWNeLtbW34ZE8HVlJ5f1uryJH86sY2HOkYOoPZcRCjkFPbGuq78cqqBry8sQUfUz2r93bivc3NeGFlIz7cZ4VjEEbgd7rw3tp6PPVRLV5Y14o6++nzGA9EJBgQ0WBfWt2AVza04gNiVB9T4ed4aU0jXtnUjuqec8/1nEACFyPYItLtDQltWzAL1eg2OR5xzEKjkAnnFmYRflIruFwIhOlFp2QYMbtAHw0dEfBj0/5ONB5XLzgZTjf2tTMxjEBv0mBOqRG8D8l28UOhrbEHr61rFg5XXaQZeYiQK3h/hG7C0U0dTj8qiDG9QudsbfCckmHIJBFUV3fi7S3tONDqhTcsoQEpE05cHLPIZndj/a5WvLOrBwOTxbG5Zo/dhw7SLjpJs/CdaTeGg9ixpxVvbe9CVbcXrkAEZpMaRWlqaIiBOZw+HKnqIsbXiirrmTOiBBK42MGCrNvHS+XR/Qod0a3RjBHHLJQKIohq7vSooxKvB14IRCJhyNRKzJ+SirFmZk6c/KYXqw7axWZ3T5sdG4/awYZSEpkcMyelozxTJbxs2dFqMLgtDry3rR1VthCkEimSzTosmZuLB68uwENLxojgc7lGmYiw6iRC/8n2VlR0D0FoSauQRILYdcSCFq8EMyZn4H6q46ElBbhrfgbGJStEzCS5JETSfwc21rliF0bBy1e8gcoSD5cz3cSuJ0bw8QEbnDQXNBoVFszIxkPXFOKRawtx3+VZKE9TiudgLerjvRYMki9oRMLrD6CdmGirI1Z6fegdZc6fQRKw3G6/eM52ekanl5dzTyWWxEAChtXlRwtd18Z9Q5+d7oCIO3XRg6T/9k47dpCgtqPWgu017F/UC9c5jFsRcdYTzR/CdEvJUtwoxghkFlEOzfuocQemCwKqnyeQngj65eXJMCuYK0RwrKYbW2rs2BlLscntyB+TjAWlnH6SY3MS1R2M8IZD2HWIpHArp8gEktMMItLo9VNSUJ5vwNgxJiyamY37F2WjyCQXVki9Vjc2HbGhnwtEXxBDC0nkRKhzcc/CLEwrMKI014BZEzNwz5U5mJKmoPZJIONNeGpv13kS8ENuFzZWWGENUd30Pjgc9w3TUzEmVY1k0i7KStNw87x05OmY8UnQ3GTDobZoSs7zhaDfjzX7mvG7dQ3446bGIcsfNjbi6W3NWHm4C5WdbthPqUKFsG53Leb/fBPG/XwLJvx8M8b9aid+f8gRO34xIwJLjxNvbarBt1/ah+v/sB2TfrkFk/5vG5Y9sRuPvVKBX65vxu4Wt9ASB4PH4cTjL+xE6c82Y8Ivt2Isfd74cg0qR4MTTjCIFesqccWfd+GKv+7Foid349Y36tB4DvtuLMxaSaVncmDQKsRcOB0svjoSwLpi3y4ujEhWyGt/3O0uUvE4Kc6FgmBIRGwLC5Mxv1AnQixEfD6s2tqKrY1E/Ih5aE16XDMtFXo+dgrpzGXtxd5GDyI0YGQq0lgmp6EsdWCuBQnSss1YPtkMHdUtodLU0osWx+BUngPZ5eYnY3G5qV9uA4Yh2YgriRHxLbhVNpsblV3nZ/+gtc2JWmtQaCMpqQbMH3fy/dOzkzCzgPssgqDPj2MtLpzP3Qu/mwO0HcV3XjqEb71aMWT5x9cr8CgRwjteOIAb/roHX3n9KN6vcgiN8GRIRCgVO0nLTirikya7e4A/TyAQwB6SPt8/3I2PjnbjwyPd2NvhERLkyEQIBw404qvP7cGX36jCn3d3Yy21t9sTRLfTh01Ndjyzsxnff7sCtzy9B9/+oAYbmtzwDBjPHPG21xuAh/rFRsXFfeQN4axtI0YS6BnYgY7D1XMYIRZE3fRgNMXOGqyxcT2ckjdVz5r20MzCEWjDtq6n8UzVTThi+yj268WFEckskvUKodKxM1kvDfgLCh4sSiXmTUlDaZJcbKx7iEnxgArLFFgwNQ3jk6PLYqdCd7cbXRxSgzhQUpIO4zJOzqAWx5gCE4o4STOd6/P40GyNqrL9EUGEtIoJhSYMZfWamaZHQTJrFxH4aVJ39cRyKp8Twmjv8aCXGsSmxbxPoZaEiGkH4OhTXF7ew1BCxWoUtdVq8dKEiNZwPsDLaCreMCSJ7XjR9fk7XjRUVDLY6X1VdjnxxvZGPPTiAfx2Rzc8J3Vq1PSX37GgErEyUAZw9jrxv28dwM1/2YObn96Hm5/cg59u68TI3JkhbfggPfPrlXir3gOvkvqMrXKOEy765L+5L6mfmiwuPL22Gve+eAgf1fdfumSIEDt9+4bKgO65aMFxmyTs5cr9QYXHd7yXzgYOVwChUBhSmgJJRLN4tWAwdHpJgGn6Lt5r+jaKDYsw1rQkduTiwohkFilGpQjzK8xn3f7oAL7A0JkNWEISfzydM0v1hYUpmF+sH8aAisDuJILPE4sGpJ7azw5/Q0FCmkeOQS40mSCbuJJ0e5LSQkRNolAgM4mI4RCQqWU0SFkL4/2NsPAmPedFu0gITiep1vTQnC2us8OGN9c2Ceunl/sU/r76WK9YluM54vMH4B4Qf+q8gy3jeFmyb+FlJy78kgShlMNiI2L/STU+buxv3cYnmbVKzMzUYTaVuVRmZWpQoOn/rpg8BkjKFulQqbCHLt96JBLNoM2O/13ZiD0OaqAw3aRWEuNUyGUiAi3b/osU4dxXPMjoO896Cc2vNGa+fSCVyjA2RYOZWVrMozKLytQUGsuxOZHACbCAZnP6xVI27x1ylOLBUO1Yi3cbv4NKxyrMS/sqluf+DCZFduzoxYURySzMBhUUpFkwj2AifP7DfgwGCQpL03B5oRY+ktK1SXosnpyMJMXpWQWDaEoUTFGY0p4KkWi6UPEnlUEd3UQ9QgA6JfpGueRLBqnpzEAVxHkzDw6nw4sj9b043NS/HKx3oKrTCy9RUd7o4/XbC/qaSMEsz07Gf11dgP9ePAb/ReWnVH5yRR7umWhGvpr6gYkh9wcRRJvFiRVHrHD36xAp5k8rxDv/NA+rvjMHn31nLlZ9ayYeKjPFjkehpMkvHDBZa4oV4bUfOz5scF9SZwpN5gJhf1UXVrb4qNFE0VnAoLF19cRcrPjKTOz77jzs/s4sfPblMvzrrDSUcB+RVqhSa/FPVxdjYWb/J1KZ9PjRl2Zi9ePz8Om35mAVfT5zWxGKtJ8TmYhpfefq+CmcR6mec6zmlGDhocvhF7SJx4aRtdw+CJPQtbnzCXzY/M9o8xzEVPNdWJbzUxqahtgZFx9GJLMwkITEL4BfODuUMSH6XCCVY+6UNJSlqzG9LBXjUoaW6vtDAp2WpNqYWuvu9cMzxCYiIxIOoNsVEktPMiJMJpKGT2IK9EPEH0R379DLcBHqF6eHJEamSnQ+Wz1RK84N1B4NSdo80TiOY05+Ch66vgiPLR9QrqOyrFCkCX302kJ8aX4GMrUDH+I8gjqrvDAL/3b9OPzwxvH4Nyo/oPLvt0zA3x+ZjtdvLMAEHd0/rqJJQqjqdotQ4X3BxMjqCaCDiGYHfXbzunOcqpB21ml3o6LDLRISiZfJoE+r04cDnR4c63ThCJXuUwQGczq92H64FX/57Bj+6ZWD+Oqrh/Grz2qx4rAFrad4n2eOILXJCSszI24rvbCcFBP+Y1kxrik2opi0hLHpBiyakouf3TMZHz9UjsfKknDrnHw8NDXppMnP0Z69viC6qG86PUHRR/Zg/2Uot8uHqnan6IOjwyhHOuizyw3bUFaNJGW1dzvw4Y4G/OL9I3j07wfx+FtH8eSGJmxp7EXvUNcNBGnoTW02vL2lFv/59mF859UK/PSTGqw4akU3zxFi/jH57LyAxxHvefFw43SqBtLi4vCH3Xi36TtY1/4L9AY7UJ50A27O/y04je3FjBHJLDiAXroxSqjZnf5zYxYEdZIRNy/KwxXF+jPKKZCWooaRBqREEhbBCmu6hrYOstMEqrEGaBJyAhsFcpMUg9yLRnYkKPIzD2WwYbF60NgToFMlkCpkYg/h3CFFSpIKXJOQimme5WUbUD7G2K9M7PP3pEITxmVroRUOKxcIRNCDLDHGvvaFhJj8nKmZWJ6tIR5xorP43P5dF8HBQ4247hdbMPkXWzGVPqf/fjdeqYmt3fs8+PGru3HlX49gjYWujic8Iia8al8DFv5uK2b+ditm/Xo3/nKkN3qsL8JB7DzQiG88vwfXPXcIX/+kHr/f3opntjfhex9X4ZZn9+KO5w7ipUNWnJcVOyK0HBLnRFUcJpsELV5qGgiJHCUlWfjjg9Pwh6W5SBrkVUVcbvzq1T2Y8rMtmPKrrZj0v1twz3sNaD0+lCPYt7sWV1G/zfrdjmGV2b/ZitnUx+/WeWJ1nICn14WXVh/D3U/uwU2vHcU/r2vCc7ta8duNjfjau0dwHf3+2NvV2NVx6r04d68TT39yGDf+ZTfufLMK/7GhGX/Y1owffVaNm5/Zg7tfPoZtrW6xrHq+RqjPFxK0iRVZg1YZDVNE8Idd+KTlRzhse5++SVBquBo35/2WZLlzFuO+cIxIZsHSNuc85g0ojhfvcH1+XsK8SZWZrkPyGarephQDJqQphaQR9Hqx5WA3am0nS5GeXjdW7+9BN03ACA20HCLEY4bYl2Bv8dp6CzbVuU8ikkGPFzuO9KDFLYx5YdCrUZJxxgslg0CC/EwD8vSkXdB/7e0ObDvmGHQvhJ9lV7UdZ+EcfuZghkgPOtRbidDktcb3LsQPUhQmqZEiFuxPgDck2YrFQ8VFk91Bn/7jDCZqqu2henjPqi+i1xGBoMLB4+ijP0J+fLzuGO576SheONaLnjC1lMaxoCbcKPo7SJrLlsp2fO3lQ/jVti4MUHrOHFS3mhja8T6hAdPUbccfNzXj6BCe9XIt9QlJwoOC2sN+TS7SuLhvfFRc9L3v2OPcDb3cd1S4H08qdG3/EhRGKt4+TJzhtNjwP28exGMf1GN9lx8hkf+b+on7iwv1l83txSuba3H/y0extmVwhuF1OPCrdyrwrc+asc8eQkhGRJuZZYx4h0jbWn2gGfe/dgSvNnlF7pDzAStpFZbeALVYAiP1p1ohp7nvw8fNP8QB6xv0TmQo0M/HDXm/pNeijl11cWOoufeFgucYp7Tk1+qmwcpJ6Uc6JAol5k5OQZZKQpNLgs42K94iCWdTlR3NPR5hYXS4ulv8tpNENZaR1ToN5ow3wzSAoMXBFkEccmQ1SUkf7utBXZcHHVYvapusWLG5BZvqPcRQaULQaywrTUbOgI3as4XGrMeCsUaoSZIPBYPYur8dnxy0ot0REMTU6fKhhpjYu/Qsb6xvFrk9ei549iTSLGjie/wBImLUDipeKj5qS3OLFX9eWY8P26hfeY+BCJrBqMO148wnbc5yn0qZC8eKjAsTpxjYl0Zs2gx8Jfw7L1SLwuvqsd8FwtixuwHf+rgZx/x0IW80k9RvUMsxI9+E2bk6pLE8wF2kUcDpduF/SdN47ZhTXH3WIGm1NEUH4uvR9hE3DYaCeGFDNW5/bj+++0E13q3oQa1laC23H6jpYi+tT/9w7LS+XRGm5xfpjlnl5OgK/Qr9zn3Z53oRHoF+4z/jiHjcePLTSvxirxUuNkrgfUHq0OxkLeaSljolTQUVbwIy4ae+PFLbjn96vxZVbKLXF+EA3lhdhZ/vtsJDxBrCqIT6gcaohjSs0mRVVFig/6ua7STxexBgieM8wOrwCSaopranE62SyoLC4umg7R0aT0rkamdgafZPSNtOjl1x8aPPKxxZ4LzCOrVMhCnvsHnFksj5QJQWRDfRzqbKU12bnpOMm2amCgc/Dlvc3uHA+xua8PSn9VTq8PcNbdhLjMJHE06iVGLBtAxMz1INQpeofro+QuyyJEcLiYcYxo4WPPtZtJ5n1zRjc70LPjqHc5WPKUzBVeMNJ71MUU+srSc191T9QByofGIGLiume/NSh9OLtTvp/ivpGVY14PmVDSLe1E6S9jjcQXsPfRKtuKAgorOtshl3EBG87fl9uJ0Kf9723D5c/+x+fH9LJ9pFG8LQajT4h8VFuKOEvWPOAFI5FhYm41ZilLlMZOIdQzQqjxjo3eVpuHdiGu4oT8bUPvbM7i4LfrGuGTUBuoaZAmkeY3NT8bd7puCjx6Zjxddm4I1bi3FZMhE/JrREIJ12J/6ypQWNnv6dT68j+rIGKeJYP0gwtzgFc1PppvE9MiKGHGOgosmC366pxYPUR9f9bS/ue/kwXtp7rkydtM4xqfjXa4vwg8UF+OFVJ8q/LSnCz64Zg+U0nmXMUAWoTaR1zihKxdysuHQdxm7ezyFG4ZNTH/Lgj8hw06xCfPDodLz/len49NEp+OOiDGRL6YWG6QS1FPsrW/E30sj7oqOhHb/a0QM3MxVmcvy+QlJcNz0frz9Aff/INLz/5TJ8u9xIM4n7h3dlzg96HCTAUmUqpQIpBgU+aP4ODts+pGGqIv5mxrz0ryFVXRw7e3RgxDILs14Gk04hXq7NyfbM5+c1syMcj0+WMMU4PcNqWXDi66RUz0kjj4js+LJMfGlBJsanKmngsKQXhrXXjy5SWTnyK983I533RfJx7QSjELz6gqsVn1R5iCbR7Gk5uHFaCjEgCRxUD8d5cvqippxs6lg+PgN3L8g4abmFH+xEW6M/9QPdiF9+/JzoPycgU6mw5LJ83DjFjFTe8CapsaPLjQP1Dhxr84iNRwURvSnl6bj3iizk6i7wUKLq221ufHi4Bx8eteCjWPmw2o791gDc/CACMtw/vwA/vjwzKmieCZQafPX6SXjqS2MxO4kujhNgevbZ5Tl4+qFpeIHKy49Mwu0l2ugxek/bDndhUwcRDxaf6dyUFBN+dss43ElMJV2vRJpBg0WzC/Gb5WNQpqF2MlGTRXCwrgebm+O+DhHsP9SA//fGQXzvrcP4/sDy9mF879WDeGp7Z789LFVGCn5wVS6KeO+UBCtRN79wJZFHao+dmP3RNgf+vq0RD750AFc/uQ9P7+VYYn0qOQMUjc3Cv902Af994/h+5b+uL8WdJTqESNoO8WDi6r0hTCzOxB9vK8XEGHMNu7xYsa8T1byqxIOf2jF7fDZ+fVMxCU5apOmUyMhIwqPLxuNHs1OhYY1FjNQQ3tvfiYbja3dBrNndiQPsXc718EQmxnTnZSX4+71luL4sBSXZJsyflItf3zsJ/zU1CQrWfM4TGmku8C3VcgWagivQ6N4mNIpwJIjypJtEmtrRhgFKugD1fPSzvLxc4nK5JH6/XxIMBiUmk0ni9XolgUBAIpfLpUT4RHnkkUe+F7vmvCEckeBIY68wT+ONqclFSSJh0blCp1OhKM+I6aXJmCwylA1iiTQoJFCrFCjMMmJaiRlTCgzIIIliILFn6pucosOEXD2yzUokaeSkIZH0kaRGSa4Rcyak4uppbHFFqmvskr6QkpSUkaqj5zVjeokJBRk6FGXrUUTns9WUmgi02ajGWHqGy6ZmYHG5GeZBqCK9IGRl6DGl2IxpRUbkJ6uhYukrBpVGhUJqz7RSMyaP0dMk5dDwsYMxyKiOMdkGlGZqkE7PygEeTdR/2ek6IgImXDY5A1dOSiYJ6vwn8WGv8E/2t2GPhYgFdzLfgAlhXNqPg2cs/8Y/8/olvUy7w4tmZxhF9PwpA/qmpdWKtw5ZYY21WKpQYNmkTMxKi+73MDP3+3xE0Npx2B4jRCSoTCxOw+1lScQPpHQbet44c/J78MKmRnzS4iPizOdKsJSk5H+enyaUjBOQiPFQX9uDrWyUQO1kb/IC0kYXj9GJsbBhdw0e/6wVW1p6saXR0b80ObC10ga3zoB7Jif3GXcS5GYnYU6KHFYOR09CiQiRw33CbeSXyoUYB2uR7RYnPqroRq9Ujbn5eqj7vnS/H6sOdGBLd4zxUR05WWZieilgH9K+6HOVQENNG771eiU+7g4KgwBmXCX56fjdHeOxKPvEmn17twW/X9+KWmYWdJpCqsI/XzcOS3MHrOvLaPwSA9x4pBvNvIpG50bodcwtTcM4ZjxeF36/sRF7rLF3RH2ZnpOOp24vPclvhpeIJ2cqsftIF2poXMS1EL3egAdmZyBtmObxcbA2vY60HBe1y5izE72GJ+EJWWgIRlBmWo6lOT+h1zugw84STz311Gb6CNF4Y655vND3YCQSiX8G+3zvW5g7hvmTjoVDJHETHY8olcqI2+0Wnwoa//SJhoYGOvXU6N+rIwhsOptmUok11B6SqLvtw1x3PSXYYS5KaMvyDChIofrPYJxotCoi+AaU5RtQnKE5peSqNagxdXwabrosDw8uLcAjS8bgjoXZWDDWhPRTeDlxLKa8TL24x/hcHYRRGBGn/Fwzrp2XgweuobpI3b9jQTZmEJEfygJJppCjgAh9Wb4RY7N1MPTTPCSCaXKcKe6HwlS1WDYeFHTvrExiTNOzcPfiMXjk2gLcvzgPN8zIwORcLdh0/3MBDXuTVolJ9EyTswYWPUpNxLhZciRJuqrDgd98fBRfe6cWlUMG3hoaPOmZB/UFEyqeeQPhd/pxhMZmKC5xEJHt7rbjhXV1+POqWvwpXlbX4unNraghrZAmL/UrFWrvsW5P1EyXIOP9FjbB5A3awQod4zXyk7pcIsPc6YV47sEp+Ostpfj6tFRMo7GdTNoLSNIXS1+CmdKVJGwEg348saoKfztoGzIfypmgo7Ed/++tSnzYSUyQLciIUeSkm/GrW8fjmrz+5qIclqbeS3eNMSn2qD5U3Ya/ru3TV1T+srYOrx2wwMECQOyB7Z4ADvdE6UDI6UMzMcbjFIyY9KLSVIyNe9UOgCHZhKtIOOTxcXIHDg5fqBe7e/6OTZ1/xGHbitivQJfNRwwD0OfUQ5r9LLzhdvpVhlRVKRZn/QsNgfNhaDLycApy98WCzWfz0jQiciqvy7fQpLooQYQhnk/73Ds7WtcXlY6TJWrxLH2l0c8LRBcWTBiD1x6ehlcfnjqgTMMbD03BrxekI5tpBVu8KIE1e5rw9F7LkKbH5wMcGsYtfF0IgglESANox3fer8Q/fVSN78bLh9X4xkf1+KDVjzD3H3chES6nI7o8yeBoseBYaEMVjmPl5x2JwWFINuDWBYX47Z2T8OojU/HynWX40RU5WJyhhpLrji/lEsPwezx4cVc7ms4xSGBPaxe+9+YxvMmOgczoAkEkE2H+1R3luKkovlQXRwQeV4AUGGoHPz/1lz/sJyZaj29+0KevqHz7g0r8gPO+sFclC0R0boiYkJWuZ7A1m5fjuXCfM2ePyJFtVAkfysHAGntuSjRSsuD6fP9T4Kj9U7xe/wg+a/0JVrX9N1a2/Rf11W5xrKWbhANdN3R5f6B6GqkqFSkqflyW/m2YlDninNGIEcssGMlGpSCM7ADT3H0+4h4lcNGCCIJeo0RZmhZl6bqTypQxyfjmjaW4j/cSWJKWE+EKB7C+2gIrEdgLBZbzhdVnH3CuER9pEH5fqF/hyABBJvos7XMhgheg36M0XIJsksavmpKOpZMGKRPTcc3UDMzP0wsF4VRQkgY8NjsJS2fm4cc3TcBrjxGDvSEPk/s6LRIBrml1op609rMFb+z/+J2jeKme5iZrPv4g9AYDfnZzGe4aS1L8IBDxmQa0P0Dva2Bf+an/fNQ/Ye6n430WEjHbGBy8j/PpH+ec9CmMYOLfB4LGD4fmOK4xDnUeIRj2obp3HWp611N7ZdDKkuEKdGFvz0t0zINOWwiq7FWQyquoHiWCES/mpD6GcaarYzWMToxoZpGki1oa8AvutHuFFJfApQv2fTgV2ZcoNZiYrD5BEIl+1Tp86L6AqoVWI4ORTWX5FjxQSYBfMCkfzz06Hc8/NBXPDSjPPzgFL5IW9PwDU/HMV6bhx0uykBZbIlwwowgffXUm3mcrnkHKB/8wAz+5IiMa66kvggG09njFYvZAyIhpppoNuGXxePxkbhrUvJ7GbaU6An4/rGfpHei32fHv7x7BXyrdCDOjII1CpdEK5vTIZBNXPwgk0BhU0ApLM/pK/aWUKPH1ayfgZdKEBvbVcw9OxQvUV1z47+cenogHJ0ZDs6j1ChjYZpj7nLmPNCg89od6nDBpVlUdbFXJ58Z+HAJyqRJLsn6Aacl3E+NnTSYilpYO2t/C7o6PYdfvhUz7Dv3MflU+ZKjLMSP1XmoG9cMoxohnFqmkWvJYsDr9aLMktItLGSxNnmrAeux2rGbrItJG4+C/znmQ0/hjKXawLUu5Xo3pKVoomAgz2CyaiMaSiRm4f2YWHhhQ+Le7J2eKz4dmZ2NJkTEa/4/AUreS7nOqwn3QD5EQ1m2pxu1P7sX/be+KhrYYFFJkEoHtu0wjkUqpzjPvHb/Lif9bcRR/ruhFiI1OiIkbtDr84IYJ+M4M8ylDzqSZtRhH7RDmfAT249HrtPjS9JP7ist90zJwHx+bxd8zMT1miACdBpOMJBjwHgSDbrrxWCe2tA9OIxqbuvBRkye6+X5a2UFCipIBS7L/Hfm6WcSP+B4cLkSBI7bPYFf8FFKpS1Qjl6gxI+XLMClG7/JTHOc8jy4kOBESO+fxGnkvTYIEs7iEQUSSo8nurLVgZ82JsovKtspuvLe7Gd9/oxJvN9EY4TVunslEN0uTNEiNh+04AwwUUNtsPlhjGorb7YONl0YYchUWlZiQw9Iyu+QT0dp+uAW/3diG3oHmqaEAduyrx/97uwq7ThEOZviIoPJIM/51dQu2ttnxr28dwlffrMRbh3rQRO3l/A3irFAI9Y0deHpfj0jNK8R+IvDJSVrkckyzM0DA5cJTHx/DL3bb4GE/CWqDgj7vmTcGj00yobeX+mlgIUGP0wszzCY9rijQE3Pl7xKSzIN4YVMd3qw6OVy6r9eJv352DD+i5zspoaRMjWtLidGyrTm/LNKgXFY7frSiBns6+9KJCFqaO/HjD+uwN25mO0xo5SmYnfZwTGNgU3Ml2kOr4Ql3UMsVCITdGKOfhzLTsugFoxyD6U3x3vxCTWfj4HAfR5t74QuGYdYqhHWPsCZJYFTjJNNZovcdNhc+rejE2/s78OaBDrzF5SD9va8dL+/rxMYOL3wsKfPwYA9jmQqPXF6Aa9g0NTZkTmc6ywjTvdfTPfZaiSGwJEqndtk8ONbhwpGaLvxpSxs8BgNmpfM1EhJoFGhosGI7MwCStHnJY3+jHXVWnwgTwgmIjjZb8eqmevzn2mZ8eLQHuzoDGJdlwBi6Nta0M0Znaxf+6fVjWNlF7dTIBVM42mzHZ1U9WFtrw0fHuulZu/DavjY8u6UZn7T6ERSaBBHYoARLZ+Ti/knJJxJbnc50lrSYD9cfw3dWd8LK9ZAQx8/PVlycAnjl4U68Qv32xoHO4+X1ve1445AFmZlJGMvPSkQ9TRnB5soetDJNp/519XqxrcEGu5+TEgXRZvVgV1UHfr+6Hr/b3k7PY0N3WIYZOXoYjzN+7ncZjhztQgWHZ4+NkdYOBzbW20U62W6LC6v2teC/V9Xj/WYvIuJdxnqbnm04prOsMbR49sLmaxZ0h56WioQuD0GnSMXC9G8hQzMhdvb5R8J09gyQYVZDzwluCM3dHhGTJoFLEDSfXYEgamx+VNv9qImVavpe5wqC6cXx5acAzSe/BFdPy8UD/XwShgetWokSM6cgJKIqBGAJ3F4f3trdgv9c14T3DlvR2CezkkJvxD8vLcBiM92fg0ZRO1w+H17cVo+vvHwQdz2zT3hQ/2RLJ46ydY9agr0VLfjdjk6w2f/ZQiGTIY+DPrJ0zQ6ETMCJmNrcfmyr7sF7e9rx5s5WvL23E9s7/Qgwcee+8AWRmZ6Eh6enn+Q/cSpEwkFsb3LAEqJKBKMg0EeAmBTntGb/jdXHevqVNfxZaUHT8WTXEhSXZOKHl2UinQgumw/zC2rqsuOnHx3Dl5/fjzuf3Y9H367G347YYZOSPBvy4YW1tfh4QLImjTkZjy/OQyGnRObnZ0ZAhP8IMeaffVaDr751FP+8pgkb2n2CSaUQszhDlwp6lWpMM99NwyDe/ijCCCBFWYyxo9D5biiMeGZh0smRw5uWBE712J5YirpkEGBzTyb88SI8cIkoDCxM1ElSlND5SjovI0mHb147Hn+7uQhjBniWh8Mc2+hEncEATXuupg8kajWumJiKYh52HB6D6hZElghkWFR38t5JdkkO/nLnOFyfScSbtOHoOpYENvq73R1EF0nNQsyJhCELS7Bgah4en58Zjet0ljBnJOOX903FCzfkY3ayDCq+r1juocYy42RJOl5YtWJti4StzDQzfnrzOCzLPzlk9sA+51wlfbtHrN9zPX3OEYVP4mfhfhqs9IVMgRuvLMUfrs1BMfFkCbebTiLRGN0cPsYThC2+hEft4fAtX7u6BLeUDgzfIsHsGYX45ZJsFMipXeJd0c/ENHm1jbMn+qhqXka6Y3YuHivRIUCMNN5mzkUhXtNpkKOdQV3IZsDRNkUkfmikWbgs7XFR96WCEb8MxSpuN6mUVa1OYUKbnqRGYebgZnkJjB7wUk5FiwNWiQKZZg0yTerBi1GNnCQN5uYasWxcKu6ak4t/uaoID89IRdIgexVWmxuHSMrWiutVJIjocM2ENExkTeI4JMhN0SNVFkINCScBImZe4iisoaRqlCjMTcKDMzMxtl+0YAlS0ky4fpwJ6fQzR2Zl2sKxtZjuGdgqSadAaaYJ/3BFMf53WSEmJJ/9ElQUEsiUSkwsSsMt45JQZFJAEbufkoh6kNrM5qIKkrhT1XJkJWlx/ZQc/M9Npbi5xHDyvYNB6vNedERk0T43qDCxIBnLSpKo/XxCGJUtdrT46XjyKd5J32JUUV1aLJ+UjrI+/SWRyVFekorFeTrISWO0+amd1GEc1odoCswqOdINSswvScd/3jAO352XDl1cm+kL0jwmFKRgPjFpDjDpZDNpNjIgxmOiZ85N1uOBy4vx8yW5iDicOOxEtO1GJYoyknDr5BQkn0b15DwUEokc1c5VkMuIwQQKUCz/V8zLvTx2xoXDSFqGGqyX4r9J7rjjDklnZ6fE6XRKPB6PJD8/X2Kz2aR0I6larZZJpVI5NUS+ZcuWjtg1FwRVTb2khjailyS0GaVJuPPyXKjY8SqBUQsa3HATkeZgiaeeyizQSqAmSZqTP50OHKvLRfXyjON6ef1ZoySpfDBCRAS3ocWGvc1OVLlCUNCYK0vlUC5G5MXyrQyOMLp73KjscKHZ5iPiGkGmVoFcIsDFmXpkG0517bnB6/ahoduFJo5ObPWjk4ivUSlHqVmNgnQ9StM0Qy/LUZ9zqBAva1L8lYqChDUdPXd8z4eTI7kFQY9+Hx4k0KlkUA605IqDmEVtRy/quj2o48jGEiny9UrkpmoxNoOjD5z+vTL8bi+OtvaistsLGzHKNBIkxmUZMT49ujLB+yHcdgb/y06mBnr3g736gWh07sUb9f8CjyMd/q6HcN+M+SgdGKLkAmDGjBk/pw8/0Vk/zQm2ihCf9N1LWrKPnoE/vbFP/i4Kn0+FzQIC/EnHgiT0h0jYD+n1+lB3d3dYp9OFNRpNhL5H1q9fz10SL3H0/VvMl4GI/zZimIWPVMYnVtShrsOJLJIK7rsqHzkpJ6vQCSSQQAIXAj2cqGnrLtQ1G5ClNeHrN+TDMCCH+YXASGIWw2PZXzBYiygg6YAeGnaXHx2JfYsEEkjgc0SHJYyOliwEvDKMyVZCqzkzk+PRgIuCWTA48io7JHlJpa9td4mNtwQSSCCBCw2O1tvY6YLT54FGKUVRhg6yoZbURjEuGmaRn65FplklQj6wCS2na0wggQQSuNDgZfDqNqfYR0s2KDCGaNGliIuGWRg1SuSmacWGSofVh9aekR2FlvcIaWyJz9OBzzvf4DpPKrFjFxIeVzRBU2wfMYEELnq09XjR0hWmyaxBTor2c9mrGIm4aJgFh7Ufm60XlitsJVPVEjWlHVEgilxf14U3Njbj3S0teC9W3t3ahh21TrgGUFCHzY3N+9rx7uboORuO2NDWGxSEPQ6Xw42t8XO2tGH9YRtaHcEh7cOt3b34eHMz3hLnnyhvUZs+O2iF8wJT8cY6Cz7dY4F7pL2bBBI4SxxtCkCetRPG4tdRXBg+L0nYLkZcNMyCkZ+hhVlEoY2gut0Fl2dgwJgvGNSuphYHaq1BpCVrkJ2sFsWsjGDfwTasYCIaI9b2Hgc+IAbR2BtBVooaqVopWpst+HBnJ9rcUVbgsjqxYlMbqumcDKonVS9FZ6sV723rQMsQeQisPS4cbnJDZ1Ahl+rNouu4ZNPfnO2OU71eSAR8QTg8xMwuvSXdBEYhHB4XapTfgS7/V0jNPoAss2ZQE9JLARcVszBpFSjK1AqrKM6c19jpjh0ZISA+IJFIkZVlxJyyZMwuS6HPFFw+PQvXTU1Ce6sN1RxviE48VtkDt06P6+ZnYi6ds3ByOm5emIdry80xu/IwjlT1oFWhw610zjw+Z1I6bro8F9dPMcM4RNwC1kqMJi1mjU3GrPEpom4u88tTMa1AfyIOEMHt9qO2uRdVbR44B7oxEyKhMDq7XCRZ9aKdNJ7B2JO714tqqqO6wwMvMUK5XCoMEY4jEkaPxY3KZieaLV746JyEzpHAxQCLrxZvNz8Al2IVAp4cpPt+hCxtauzopYeLillwlraxOQboVTK4fGGSoHtHIOEhYhjun3eBmVtGik54wVqc7A5GEnggjFDf9SY6R61RIDdDg7jPFsfcEas58dPoHKVSgTzSsEwnJTU4AXHkVOIPa0D1PXh/cwu2VVmx42A73trYGmNkUfg9Xqzd0YwP93XjQDVpPJuasPKoQ+QVEgiHUVnZiZfXNWH1gS5s3NeOj/d0odEREEuGIthaKIj9hzqwgrSlA3VWrN3dho/2WmAfYQphAgkMBCc+erP+62jzbUPYOwv+xp+gUJsHDWcDvERxUTELRm6qRmTQY6/L6hYXLI7zEer5/IJDlPQNHsFo63TBHZYiTeQIlmBsqRkyWy/e3tyG7dV2NHR70dsvo5sU44uTYfY48NqmNiLqNtTTOY7TJauhfuFMbVaHX+Qu7+HP2N/x9J3WTjtWH7Ijsygdd1yRj7sW5aBEG8Sa3V3o8tE54SC27W5HtV+F5aTt3HnlGNwwxYS6o53Y3hL1cWlvtuCzQw4Uj8/EA0sKce+iXJQnAcdanHCGJCIckcPqxMYaF8ZPysLtl+XhlnlZmJSjjga+SyCBEYhQJICNHX/AB83fR0/gMOCbA3v1D6Dx60lIG525tYeLi45ZJOkVKM6M2jlbXAEcbnTEjowAEKGW8RJZdy+2H7Ni5zELdlaS5H64A2uO9qKwIBlFsTCfaVlm3DI3A1nyEI7WEOHd3oLXNrRgV5P7uPRuTjfh5gVZyFOHcYwk85XbW/HaumZsa3ANmVeatS+n3Y3Ve9vxyU6S5Kl8SNexdF9n583zMKrqHQga9JhRRP1IWoZUpcSUMmJeTiequv3w252oaA9iRnkKMtSSaEyubDOmZ0ixq5K1iyAqSaszZidjQakBagVpPGoFxpakYnK2RsTlYf1JqZTDRFpSdZ0Nxzq8UOvVKMnSQXumYWATSOBzAufcXtf+C7hDbVCHL4O77vvwW3UoII0/03zhw3uMZIz4QIIDISUmwcTrWLMTXn9IfJ84xgg5h2f+okFEsqXFhqPdAcgRgcvtJ0Jpxa62EObOyMb8Yj00xwPRSKDVq1CSayACqkd+qhpyvx/bj9qgMGmRY2SmIoFGq0JxjgGl2Trkp6lpAPuxrcKKiEGDfKbEA2DpdqLeFsasiSkoyyZpKE0r7MLZTyUjSQmVJIyK6h7U2kPwONw41uREZUsvatrc6CEOlJNlgMHnxQ7SCPzEFOpaiYFQX7PG0EYaSkSuQlmOElWkDRmyk1CSojwhcRCj9Nk9oFNRXkT1EBPKpudoa+/FwQY7Dje7IVErkWGQHx9kXyR4T6aHNFOLM4Bed0jEHhusONwBEdBU3SdG0unAuSUsdj+cpM1pVJwDYXTD6wmg0xFAmOahioSBi/F5P2z+F+y1vEw0RU4C2nzIOh5He4seKkUYiyalIif18/evSOSzOEcUZOiQmUwqIY3I5k4PGjpGyEY3SfvBsAS5+WYsm5uF5XOycdflpBmowrATtem73MleoQISKfQ6JXIyDFg4JR1lpgiq6Hl4ce3EORLotER40/WYOy0Lk1OAQ41uMWoGgpPWK1UKFGbqMYb6iSP0FhIzYsMAk1JKVfFklsJIUv60sSmYPdaMmSVmzC1Pxz1X5GF6pkowYIVShqI8M+bx8dJouWZOHr40NwUc9ZvTDNiJyPZfFIvA7gkSk+G/6eVQu9MyTbjxcrpuQSbGGYH1u9pwuGdkOFTyvsyKdXX4zXs1eOLD6iHLH96rxiu72Rw4duEwEHZ58e7qWry62yre5ehGGLWV7fjtG5VYX+8Z1BBiJIN3GD9s/lfss7xKQ1aGHN1ElKv/BV3tZgQjfqQalSjNHRge/dLDRcksdBo5xpNEzktRTl9QWNrE6eoXDTbrZUKp4kimVJLSjFg+xYijFe2kYfjEXnUkFMTe/e1YV+mAwxsCp7/kjGoOVwBWrwRmYgwqGsD7D7Zj9WE7EeAT53BKzx5PBClGxaBqISNMszUgdsYHAfVZcY4eUrcXPXSvlCQ1MV41dAoJ3T9IDIjun0pajEmC+g6v0H4yU9RIownj8/rhIklZqlCiJFuLFtKajnT64Ke2BQMhdLTZsKeul4ijREQ29Xn8aOrxwhORIMmsw2RiOFrSVjocI4NZ8Lti7TQ5VS+YO++p3ESfA8utC7JwVYmBcxadAahPwtH3NvohgdGoxsQCI7L0F5cWFQh78GnrfwiNQiZVwajIxtWZP4G9Jxc9TlKRaezycxliCdguZVyUzIIxYYxRmNIyYeRcFyNlo5stoXiZ7ASJIE2jIBULcpXYurcTjQ4ix0SwjToZ6mu68PaWFny2ux0rqXywowOhJANmFUTzdSTp5Wiq78Y7dM6nfM6edry3uR1enRGLTkoEEwX3B4dEGZpEseaTjDn5Suzc24IVO9uxiupesb0N+1u94lqo1Fg8PQ2wWPHmljZqWwc+3d6ClQetsIgNdglKilIxL0+OjfT7hzuobbvasbXBjSRiPiIvMrXA6/JgO1tJ7ezApoNdWLe/G+pkAyaQ9jIyQDIlNdWcrMP0cSmYQZrWLPocWOaMT8XEHK3YtD8TkPo/7GWrixs0pgrTcP+1BZiVo76oiMrunhexs+tZKKV6mrd+zEt/GEmSaSLbHjN6o04uUjkncBHuWcShU8lFrt6mbg98gbDYfMpJ/YLDllPPyRUypJg1yDAo+qzlS5FObWMfB7VGiSStHCkpOozN1HLqZEGwJDIZ8nNMmD8+CUkqfgUk4ZM0Pp4keB2J6aRUiHNysoyYX25GsmrwKSmTSWAyqoQj3lD5AyRSKbJ4KY+YkZ/XjORyFOaZMLPECH1s81mtU6EkSwM5NY433I1JWswsS0GROSphcVvysvTIIKbnCUTE5vWkkmSUZWqQZFAhPUkFnVaF7GQV+ApvADAl64nwmpGuGRnkJOj3Y1+VDWG9HlPydDiFNfIZI+LzY2+NDQGtDjML9aIPzgwRuD1B2N3R3Bu8dHgqhEiz66XznaSpMsMfKrdHwB+tUyI74Q/j8wbhIY1RSffgX/i7g7RZGY1l3mILBekaJ51DA0EuHzz/A2uWdjdpjFSvIlZvKES/kbYapvGm5IsiUe3Z6YsKTIrBKuqHCJy8Z0RtYQUt3gecjIqfQUrf+/n0nCFqetdhU8cfqH/91GdeTEq6GVdkPo5jzS5squhBkPpkYr4BC8pTxdLsF4FE8qPzhCONdry4ulH4XEwuNOLuRXnQqS+90MEJnB28vU48+1E9QlkZeHBh2jmlOB2IkMOJpz+thyslDV9bnIEzEWOcNhd2HbPicJsbdk8EWp0SJWNMmDsuCSl9vSqJmNqsbhysd6C+w4MuZ0AQfS1niMsykKaUfJy5x1F3tB1v73fhisvzMCNNgv1He7Cl0g59dgpunZsKHS9/7m7FJ41B3HFVDqQWO7Ycs6PZGkBISsIKCRnsbDo2XdVHg4igubYLb+5xYM68PMzLiWqOlnYLXt7Yg/KZOZhqCmProR5UdnrBPCUpSYPJpcmYVaSHkI0GoKerFzsqrahq96KXmJSB+qAwx4i5E5IRaOnGqwecuOqyfExJPbv53uk5jLcavwWbv0kwsQLDfNyc/xti6il4dV0DdlbaoFZKce+VeZhclBS76vNHIp/FeUIxTYj8mDZR3+5GywgPLpjAyISEiNUXJDieBGu3Ha+ubMCqahdSM024ckoKSA7C7r0teHFjOzo8LCyeQEuLFasPWGANS1Gab8LsEhMy1cDeg+14YW0LKi3994d8pOJxoEe314dNO5vx6rYutBNDUpMmEicGHrcfXTYf9hxowwd7LPCpVJhWmoRiswzHqrrw93XNIjVtX3CYl06rF6643TchQNqGxeFHTW0P3t7UhjpXBOMKTJicq4Gzx4E31zbi0yO9J22IN9V147lPG7C+xgUdabSzxiYJk/Pq6m68sr4Zuxpd6OrjNzQQvpAT6zt+jSePXY0nK5eg03ssdiQKV6ALH7X8G6z+BiEZ6xUZWJD2TWhkKWjtcaGq1SXOY5+ugkQK5+O4qJmFkgb41BIzqc8S9LoD2FdtEzmHE0hguGBGwUs4dldg0GKjwks7n8eoCni8WLWlFXUhFe66pgh3zM0gSToVNy4qwP0L0mFv7MaK/TaciMwiQX5+Kh69vgRfv3YMbpidiSUzs3D30iI8RJpSkBjP2iM2ePs0XiqTQKOIoOJIF3Z1hHHVwnw8fsdY3DY9+bj2I5MT4wh4cawjhEULxuCBRblYMiMTd1xdiIcXprMZnAho6ejjiS+Wlei6vitLJOFCIwmhstmFnJIMfGXpGCybmYnr6Z6PXZOH8fowNu3rFGbccbitdry3uRUOtQ73LSvGQ4tzcc10viYP/3DdGEzQhrCjuhdeiWzQPSSLrx6/PzIX27v+BgsxA4uvDmvafk4MKXqPcCSEj1t/hBb3HmqrQvw+2Xwb8vWzxfH9NXZhKq0gmjIpsbHdDxc1s2CMzdUjy6zmhTkcbe4V0k0CCQwPEsiJujXU9+CZFdX44/tUPuhffvd2NUnfPeirs4aCYZLMQ3D7ThQXlXO1fGppsmBfVxgLiDhOSlOcWCOmsV1QnIIrSrSoqrag3nGCuBqMauSmqI7vEzDYPLp0fAbm5anQQho3W8/FIaG6Ah4f6q0hzJuZg6vHm2BUEnPoQ+T57EhYhqmT0jE5Q3X8GF9bWJyK2dkqdHY4YaU+OCXougAxlLyCFCwaZ+y3h2ZKM+FyujdxYjRa4lpKGEf5+XwKLJmbjfI05Yl20b1VOg2umJWF2bkqYUQyUCNh+EIOpKpLhJWTTDpgRhQAAFxMSURBVMKRHhRodG3D/p43xPFKx0piFPvodxUxjiCKDVdiTuoj4li33Yv9dXbx/Gz9Ny7PwLdNIIaLnlkk6ZSYXGgSk8XqDGAPaRcJJDBcsHGB0aQR6/vzxydjLn32LfPKzJiUq+m3QV1X3YlnPqnDM5/V41kun9bhb582YGfrOVjkRcKoIwlcZtBiCt3vJEjlGDfGAKXfh4ae/ktA4WAI7Z0uVBCh21trx+EmJ9psIZGoB74APKQ5xcG0LxSRoqDAjPKsITySqVPYq39M6slWa1KZFBlmJRFrYphDLAPFEaFzQnIZctM0UA1iSpNO9ajkEbHhLRAKoKndB22SHuOHsJiTq1UkIOqgk0Qt2QYiSzsZt+T9HjnaaQhGWHCUCKawo/tpwSQ2dPwWrmCXYD5KmR6zUx+CWk5Mi7CnyiYcNDkKQ1meEammkWK1NzJw0TMLtlJg0za2vmEXh311toR2kcAwERHLlmnpBiyanoErp2XgKvrsW66ZmYk5JYZ+zIIJJaf1DVLhTz9/BogwnkbQPhUiRNBsTtJOPF58tKkJL65uwPOrTpQXVjfigwN22LwBtB1f/4mgrdWK1+nc1ze3YeWeDqzZ1yFMrD/a3oLtLT6xPNQX7LQpkclRkK6FfghHHUGDSeOSDiVW08/DFrjpxAFNOAH+ve8xaps/EIFMHo0tNjj4WH9NaCCSVPm4IvP/wSDPpCpDxBdkcIcsWNH0PXR7KyGXqKkWCaaYb0eBfr64psvuI9phFwzIpJNjYqERipEQFWIEYVT0BpuJcmIkdtLrdvixq8oaO5JAAqcG0xwWMgaTUodC8dgMfPX6Inx1WWG0LC/C168rwJy8c5FEqSXUBqlMBr1WASMV9iOKF6NGjnRiaktmZmBiRjRMJQeEfHt9K+p8MiycmYUvLynAg1cX4N4rcnHNlFQUmOT0XBHxfHHwn2xyahjC9Po46MS+1/XDUL8PhlPUc9LvcjmSqc2uXg/anYMtMjFC6HL4iPj35zMDkaedSYxgHmkX7CIqgT/shsVfD7mUtSliSBIF5qQ+Ko4xOMYcMwxmQiVES/LTExvbAzEqmAVrF1OLk0giiMp/FfUOEfMngQSGA6ZZQxLGQcC+BmyizSaqXPhvLsKX4CzB0m+6WQ4JEcxZkzNw07zs/mU+lblZuGF2FqaJ5aOwCNDYEFDguoU5mJ6nE2EpUqikmtTIyzSgkOobdGGfcAaP+/lBIkfpGD3kbjfWHuiBY+AyF3H0pgYrttU4EaQ5fyrtQiZVYqL5ZpiVeVHtgv5jBsHg/YwrMkjzUGSI75ZeP/bV2IWWqVPJRGgb3stKoD9GjZ7FgfLKeEOK/u6kl89rt2dCABK4dMHLLTF/r/MOEWcr9vcpIZFiPBEpg9eNNQc550dEbK4eL3QKB4ms6vBEraGIcAaCIcELpIOQfrfDiT3NXmH4wddfLMgvSMXV4/SoOtyOv69tRUWLS5jEN3X0Yt3OFqw4ZEeSWYMkuWQoPngcudrpMCpyEIqc2ONhTcOgyMI401LxnWkEaxV8D+7F4iy9KAmcjFHDLNhzedZYs9AueB15f60N3QntIoHTgAmp0+lFXasLde1U2k4uta1ONPb4hCf7mYCth5wODw42OHCkwY6KgYU0gyPNTjhj8eZTMsxYNjUJbZUdeGFdC3bV9aK524OG1l5s2t2K51c1Y11VL8R+sFQmvO7Tifhx6t09jS502H3o6HHjwNEurNjZDQuv/zOj6MNLmDjyktupBSleuho6ZAwfOx7kMg4+X5TY9xhOVQ8fOOkauQKL5uTi9mkm9HbZ8erqejzzaT2eW92MvV1BzJqShYVFOkhD4ZPuNRAKqRaF+sugpE8Ge2nr5elYnvPT41qF3U2CZbVN7Duxr8nscUmCliRwMkYNs2CMydCKcOX8qtt6vNhbZRUmdgkkMDhY6paguclKRKkBz69swHOrTi7sif3WbgvONP4hM6KuNjveWNOIF9c04aUB5YVVjXhlWyda2aWZIZVi0qQsfGlhBjQeN1Ztb8GLdP9XN7Zga70LuUWpWD4lmQhe9PTMXDNuuywLqREvPt3ShOeona9saMW2ejeyC1MwP18tzHz78TiaDv1jl50MJsJ0mTh3MPDVoVD/OvhvthweON04VtlQRF1cw8ejX49DplZh3qxcPLx0DO6Yn4WrpqTjxgV5+PIVuZiZq4XLHUBIJoX+dPsuhOkp90AjN8MbsiNZVYxb8v+IEuOV4hi3q4IYeWOXR7R7XK4eY3MTcaCGwmAsNP7biA/3MRhaut146qN62GhAcVyiB5cUIsOcMIFL4GSwyWkLSe4cPp4xBE0TUrRao0JhOsfbiv14GkSCQdIKOPshS85DEGeiUFKlTCyh6geY/3i9fnTb/XBQ22RyGcxGJZL1ChHNdyA8nui5Nk8ISpVc7Fmk6GRw2j1odkaQm66h+qMXunq9aLIFkZ6qRfIQMbo4hEibK4I8btdJAbM4xIgH7e54vdE6PE4fmm0BJKdokRKrl6MON3b7YTBrkDmI6ZWfjtd1+2A2a5He5zgzMzZWGQwhjxdvfFaHKujxD8tykTKMgF47up6GL9yLSebbkaTMjf0KWJ1+EgTq0NzlhUGrwANX5aMkZ2QtQY2kcB+D9XT8t4uSWfDEfHtzCzYe6hHrxUumpWPpjAzxdwIJJDCyEXJ7sGJHJ3RZZswu1Isgmsw4OJqz3+fHjr2teO+QGwsvG4MbyvRDhunvi6j7Hm9x96cBq/d24qOd7UIYmDc+GbfMz4FiaJvdLwSJ2FAXENQxmD0umaQrdhyKiLSmvCSVQAIJjHxwPCmvy4c1W5vw5Id1eGtLGz7Z1Y4PtzTjrx/WYsVRNyZNTMeVJbphMQqGhMjcQEbRZfNixzGLWAZj0+QZpeYRxyhGGkZl72SnaDCjxCwkElY1tx7pERrHpYZIOIQemxut3W6090RLG5UOu/+MN2tPBb/Xjw66B9cdv0+rxYNekfsigQSGD7VJj1uvKsSDi7IwKVMFd68Xxxo5VXAQqRlJuP2qMbhzTipMsWW1swFrEpsP94iAilKigJMKjWLJLYFTY7Aej/92US5DxdFOxIq9XlstXuhVctx/VR7G5n1xm1fhUAhdxLhcIeLQvPMpwGvZUqTqlTCc6eCnAW8hCczmpxr61heRwKxTIkklhdfpwE/ePoYtXcHjUhN7HWflpuG/rytGse4M7zkEKg/V40eftKFTKRXSXjgSFtn0Hrp6HO4dmzBDTOBsEYGPBA7O+sie6Grl4Lk0zhQ1bU6R2oADRaYaVbhvcR7yM0amE15iGepzQIZZLUxplTIpXN4g1h/sESk0vyhIfF48vaICy36/E9c+ESt/3knfd+F/t3XDd4aKj91iw49e3I1lf+hTH9V947MV2NwRXXYLhwLY22TDhhobVtdGy/pqK9a3ueE6j0I/b5qupXrXxe6xVtzPjpozSVqdQAInQQKVSga9Ri6c5c4Ho/D6Qthc0SMSNfE+5rRiE3LTElrFcDBqmQVxU+HVnZemYVEeVa292EME7YuCRKNGeYaKNB4XjnV6cKyLSg+p2O12vL2/A+0xi5zhIYKahi68X+lAJWlOoi4uHS4o9FqMS4kHiKPJpiBZnySy44UmHWccOz86RRRxqa/vfeRUzmfmuQTOHKy3chRWDqSXQBQcmfpoE+fWBjLNKswdn5wwfhkmRi2zYJj1SswrSxbEkdfodxy1otv+BTnqSWS4siwDczmuDy8b8bIQuw3rZDjWTNJ/y/A34SN+P1YftKA5TNezrTnXRWKXVKvGdZPSUaKj73xehL186cH54fsUThdJfyUwitHjq8XGjj/gr1XL0e2rif16acPu8ou9Co7Cy3sVl5WnItmYMKsfLqJUZRRjUmESxufqeYlf5OtmCwjOUfxFwJiZhBuKjZD33WynURvxuPFOhSWWnuX0sHXb8Ek9SUc84uMIhZGdZsTSkj77MhIOGKdAilaOVFLluaRQSVPz3kJCmhqtqHduwYs1d2FN2/9gYtLN/XwLLlXwlNtVaUUdad/8N9OEKUXR0OQJDA+jnllw4vrFU9OQRBJ8iEYJm9LWtRGh/SIgU5Lkn4oCNRHq4wyL/pZFsP5IJyp6hyPvR7D3WCd2WIi1xDfFefRHpJgzLg3TUk9EIlLr9PjX2ybh749Ow0sPThXl749Ox++Wj0HBmSSFTuCiQCQSwt6el/Fu47fhCLRgac5/iFDdSmkigmpLlwdbjpCgGIrAqJFh8ZR0aFSJfP1nglHPLBgcbnj++BSx6mN1BbDxUDc8X9Bmd0FxKq7LJdWXYyPEQRqCpcuO9484Yj+cAn43PjxshfO4BRSBGI9ap8GNpFbHVqAEZHIFphYk49pxKbhmbLIo/PdlefrjISOGg0ggAJvdi3qLR0TojFyoNSyq2OPyi6ButRa3yLMc7ttP5woiph6XT1jK1Vu8sDv9ImzFuYK9te3UP7U9btRR3ZyWk9fEP094Qw582voTrGn/BTGKVmIU/4V5aY/Fjl7aCJDWvfZAJyz0vnm3buZYMwozE1Z6Z4rB1iLiv13UprMD4SAm8cLqBlS3uaEgQnnT3GwsJOL6RWDjugosf7cJTmUfiu0LYf7MInxwbymST8HCO6obsehvR3EsRCfF31QghPJx+Vj9aBky+lQZCvqwZm8ndtmDIqEMg4lvdpoJt5YnD5n8RoC0laambrxX0Y0dzb2o6fahxhtCvlGDcZk6XFaahttIS0ohKe3AjmO4/u/1aFLHKgyHIVeq8F93TcO/TDm9ubLX7SEG3oFPamw42u7CYWsATiK22UYVytN0KMtLwo0T0zEpQ33m0g09R2eHDZ8d6cEWeo5GYkTVdj8sEQnGUv15KVqUZRtxbVk6pmVr0Dc96elg67Hhg32dWNvgwLEON6pcIcgVMpQmqVGaocOk3CRi0CkoTVVfsKi2jN5gJ16uvRdWXyMCES+WZP0Qc9K+QsNj+M8ymrGd3v1bW1pFsMD8VA3uuyofafSOLgYkwn18QThUZ8NrG5rR6w0jxaDEw0vykfMFmM35urpww1/2Y6WV3kU82E8whCRTEl5+dBqW5UST25wEkoxfemc/HtjQhRBbHUV/pOEgxY+IMP/n3OTYb1H4vHb8429246kaD8DxevjVk0ZVNr0Inz40AUPl6vG6nHh5bS1+vb0TFTYabzK6F9+Om8paBbVVKpOTtpaJX99SCnNzM5Y8V4P6M2UWoSB2H2rBL9c24cNGJ5xstMPZyUQ1dDNeqhMR7STITtXj0csK8PV5WchUD4/y2rrteHljPZ7Y34NDVj89P9UZr18s3dGnqB9INmlx4+QsfPOKfMxIO82mZziEbXvq8ePPGkmS9yHIWh5zg9irFFojuwaTxphj1mH5pAw8MCsbM4kZqc5zRFN7oAWv1j6Ibl81OPf2wrRv4fLM78SOJtBh9eH5lfVos/lEVNlb5mVj9vj+82QkI+Fn8QWBI0pOLUoSxkjs2b2SpO4vwvdClWrG3eNMkDFBiYMkWofDhY+qbENudAesdrxTbUcovgTFH4EwktNNuGncyURZSv8p1aRqaBX9ilEl49sNCqfFhv9+7RC+sbIVFSzea+gajp7HRJY31Nnyin4LU7WbKlpw36uH8XKNE2H+/QzAFl3vrjuGu14+htdqXXAS8wG3le9FRO+4xRj/Rsyh1eLEf753GI+9U4sa5+neWQTVVS34+vP78M21bThEmhV4fZqZGe/zMMFm4s5F1C+HxeXFcxtqcOczB/BihZ1mZKyqkxDGnj21eODNanzWGUBQXE/1UlXHpxY/g4afRYIWmwt/XVWFr71bg9rz6dxCsPoa8Gb9VwWjkEpkmJlyHxZmfDN2NAEfzY21+zvRToxCQu9mUoERkxKb2mcNHuKXDJREfC6blIrcVLUQLA839mL70Z7Y0c8REjmunJqOMg0RrTj9IELMTnTrj3YNSVQO1vRgZxdJyEy4GUycwlJcNSETk5KIOA0TQ9FBv9uNJz6qxK/22uDltbq+XuXcYX4iui4SVjz0yU0kQnmsvhs/29WNtjORmMNBfLq5Gt/6uAk1nJdGQ8SWL+fNEF7v91H9vvh9uLV0kDUpWQTvb63DD1Y1wzo0NUd9dQu+9dpRvFrvRYSZxHFGRteQViTq5RLTKgSYcRCBr23pwXdeq8BzB4kpxw71havTgv9e3YRKL7cpVm+AziRtQkNaopI7xkNt93PddA71oUSlwOQxJmQOEeX1bGD1N+Dtxm+h3VNBvE8hrJ4uz3icmMbwx8Fox74aK/bX2cV4TzEpcfnENGiOa+QJnCnO3+i9SJCepKZBkwo1SX0BmuCbKyyob//8raPyclOxjE2SBFGJgcT9mmYbtja7Yz/0QcCD1UctaAsQAYq/NSJ8Cr0Od0xOOQ8OcCHsPNCEP+y1wMeOfH1HBhPYiATT8sy4bUYmbitPQbmeTmAiSUzOR/3I+u5wUVvdiv9e04zmANXBhJxncyhEzyDHVZOy8MOrC/E/1xTioUnJyOS5HU+vKZaQwnhnWwNePeoYlOl5eiz40bvV+KSTmEGcCTH4GQIR5Jt1WDo+BdeNM2OqSQEpa5a8bBQHaxk2O37ycRXWneT7wtZ03djcQRwuvgnBJsspRvzwmlK88qUJeP7mUnxvXjbmp6sg4/7xhJCZlYx/mJ8D85mGdBkCNn8z3mr4OjGKA5BL1EhTj8PirH8mBccQOyOB1h4PNhzqhpfmFw+bK1lIZAfdBM4asRF/aWF6iRnTink5KoKuXh9W7+uCM56A5nOCXKvBtUR00+TELOL8gqRzt4uYQrUNvURn+qK7w4FPGpwI9F0/oibPKE7BQpGT+dzgdbrx2q4ONDEz6ps0gVT5rBQTfnPHJHzwlWl49p7JePaBqfjo4cn48bRkaMPc0OETwYjHg1e2tWCLjR46nryGJHyDRocf31SO1+6fhP+4rhTfXzYWf7pvCl67tQBT9FR/nKATIwu43Hhqexs6TgpUGMBbG+vwSiMR+fj+CYOIdpJBj5/cWI5PHpuOVx+chpcfnoYVX5mKZ5flYqqW6u+rZZA20tpiwR+3dMAqcpjGEA6gotsFG+998COz1hOS40sLi/GTpYW4aWo27l5YiP++fSLepr569cYCLMoiZj4rB/NSz49Ey17ZO7ufRYfnCPErDX0LYVHm49DJ02JnJOCj973uQBfaLDQO6D1NKTBhdllK7GgCZ4tLkllwNFrOc5GbEpU0jjU7saPSIlZaPj9IMbU0DfPTlCcIFa/TE/HdQtJrbb+0bCHsq7XgsIV+i78xkmglShWun5SGDPbbOEe0tVqwrokmV9+9B2qXOcmAX9w2Ed+Zk4EcoxIGlQwGtQL5Y9LwH3eW42czzVD0JbSnQXO7FR9XOhFh7YVBnS6RyHDv5UX47oIMpBCRl5MoKKWiUatw+Zxi/PKKTCQzYY6/H5WE+qMHm9pP5FZm9Lb04Ol9VqLffQgzaRRJJiP+fO8U/PuVOShL1yJJK4dRo0ROthn3Ly3DC7cXYw5rSnENht+DNIyVFe3Y2tHH45+0H7c3eJy3C4YhCaPZ4kGXN87dJVDSs2WkGnH7lePw3tdn4N/npp2XiRaJhLGl8wnstbxKjEJF30NYkvXvKDFcETsjAcZOmsv7auyIhCUiAdrSmRnUX+c+Ry51XJLMgmE2qHDN9AxolSSpEuFdf7Ablc3D8HM4j0hOMWLpWCNUTH7ihJCk+tp2Bza3uI7/FHR7sZomQDvTo/igJwKdn2nC1QWGc3+JRIQO1VlxmPcB4vUTEecN8htn5eO28UPYpKu1+Pq1RVieRsQ5TmhPBbrP4dpu7OM9mfgeBz3HmOwUPDo7A4PrR1IsmZOHpTkKOjf2E2+Aez1YWdP3fZHEXWPBfkefunkPBAo8enUpvjRk9FspJk3Jww+JUZmJ8B/nBMQ0XTYnPq1ynFilksmgU8shj39npkJf3txWg0dfOYK/7+9GDUmzIkd2DCbzicxxp4Pd34pKx2c4Zv8ErmB37NcTqLB9gO1dfyWFhhgWPdsk822YaL4ldjQBBi8pr9nXTQpxBBrSXK+ami6WnhM4d1yyzIJRTurpwnJ21pPA4Q7i410dsPR+jrGjFCpcPT4N43REbMVGLoEk6rDHg4+OcM7n6G+t7Tasb3TT24q9LlaBJHIspGvLk4mIniuIWTaRBC0c1OIjIhyGwajHTRNScKqVXmVyMu4oN0I+DO0iEgjiSJMbrr73IUk8SS9Hc7cDq6otWDlIWUVt0+npOeN9xLyA2neINMLjbyvsx+FGJ9zxcxjUptRMM+6ZZI79MBTkWDI9E3PZ+z1+Pfd1KIjDrQ544o8mVWBapgHCliB+G2IYIdI4Ptzfgvv/vh9feu4A/un9KhG+pd01vKVN1hh29byAD5oexyt1D+HluvuwqfMPxH9PaE4Nzq1Y0/4/Ij0oLz0lKfMwJ/VRqGQJ57I4OOQ4Z76z0ScPkZmlZkykOZ7A+cElzSxYMORgYmV5BvE3J27/hAYbr3l+XigqSMaVuRpI+xI5WQSbKrtx2E7tIEKym/7ebyeKFd9LEIRci2VjT+NYN0yEiSi1CSeHWP0Mul1yig6lKacLtCbFxGwT0vtcOhSC4UCUgPKafxxyKY7Wd+Brz+3D/c/uH7w8cwhvNBBbUMWv488Iep1e2OKvyudDrT0APx+LnxaUYHKWAQXa0w9zdaoBi1LVkFDfCvDrkEZQb/fCclxrkmDGhAzcMkYL9lc5DtbGVDJB9Hc2WPDE+lp85eUD+NLfD+GpnV04naUvWzatbfslGlxboZGZoJOn4qD1HbS49ojjnqANO7ufgz3QKiyflFI9Lkv/R6Sqi8XxBOh10JxdtacDNe0kVNHrKMnS4oopaVDGDRESOGdc8j2p1yqEqppqVAqBfU+NHVsqPj9zWplOj+vLzDCzIXicJslksFt6saLGBa/Xg8+OWeHuSwTDEpTkJePyMefHuoM3Td1CM4jfgECdYdDIhpWRzKRTwqSkxscl8CERYY8iuk2fOulPbyCMdicxLJefmMnJpc0ZgJ2txvjaeKG6nH4/euPCNxHvNpLwT/AhPkcCs1oORd/7DQXS1DIMiuOrcAL0d7cvJKx541AaTfjRTSW4NVtJDSfGx4yEb8UQTCNqqtvj8WPdkXZ85/UD+Oo71agZaLHQB0ZFFm7J/z0xAQNVFW13MOzFRy0/IKXPj0O2d+n6dVBJddTFYZQarkK5+cboxQkI7KmyYRcVlrlMNG6vnpqBZMMQzq0JnBUSbJcwJlOHq6elQ62UCtv69YdIqm+wRw9ecEjEctLUZCIy8cVxXnMPBLDmSAf213RhQytRxDjRJkIpkcqxbGIq8o5L2ucGDguhZfvC41SPIYHHH2HLz9OCN309JMXTJaeBJGriK4j9CTCNVRJB52P8mIMWkvh5I/14IQYTIqYZX5ljDcXQjynw38xQQtSt/e83OMJw8WbDgFOTlDJhgdsXWflZeOaRqfjp/AyM00mhYk2UNQ1muEytuB0s0Srl8ESCeGVDLb7/aWMfDaU/5FI1SoxX4rrcn1Gro8/A/hLOQBe2dP0Fa9p/TnXyg0qgkZqwIOObx89LAKhtc2L1/g74qP/l1PdXTE7H2LyEGfH5RoJZxDC9JAlzxyYLT087iZKf7u5EO5vefQ5QZ5pxdykN7vhSFH8Q49pX24kfftaESmGqGSMOoTDSU024cVxS9Pt5gFSiQEY8smCcnhGBtPS4Ue/ob3F0MiKo6eqNbr6fhn7JpTKkDoz0Sc+Tl5WMH95chv+5ZTz+d5jlf+6YgP+6KheZceFRrUQRaYnHN58ZsggOdTjRNow0hBGXG3t6/Ce84xn0TGMMKmIYse99YEoz4wd3T8FHj0zCr5aOwW2lJpRQH+p4GYsZR1zLomfmRn2yrxXvk6Z4KpQar8Y44zUIhD3iO+9NbO78o2AM/J8/7MKC9G8iRVUojidAY5RUy493tqPHERAyyCyaF/MnJMxkLwQSzCIGNtdcPC0NZXl6mqUSkfvisz3tcLGn7wWHAsumpqGEl3LidI3EbQ6wt7rFiyBT4TgNC0mxoCw9qomcL8hkyM9UEV3rf3+HnSS2avupV5c8Tqw4aod3GB7cErkCxdlqKPg+8UqJQUoiMtwwNQffvXzMsMvjVxbg/ikpYBcJAZkK46jufsqWQoqWViveOHJ6LfHIsR6s7STh4LiqQm2UyDAuUw9dv7WpvpCiqCAd31w2Hi8+MBWvPzgZf1xehNuKDTBJ+/QljS2304PN9b2nTJ+rkGowIekGaORmujTaQXGP7HAkhCzNZIwzLRXfE4AI1fPJrnbUtLmpvyQozdbhmhkZUCT2KS4IEr3aBwaSTG+Yk4XclGg4kAM0uXnTLETS74VGTmE6bo57dMdpE0u5fYkwSa0ynRZ3TUnHec3vJZFifJ4RJbzeE9du6LdAKIBXtzVhQ9sQGlYkiA821uP1RtI+hjNBiRCXFyejjAMBxu9DhLSxpQd/3dYOzykIKfxerD/Yiboh1/6lmF2SjCK2kuzzDAj78OdVNVjZFJXWB4Olowe/3NgK3kOPBjEkBMJQGbW4ijSGvj6KVCEOVXZibX1/LUGjV2NaUSoevLoUT99bju9MMUHNWsbxZwrB5vafdlkvXz8HBbp5Yq+iL/xhJ2am3g+DIiP2y6WNML3jdfs7safaRl0cQaZZietp7ibpEvsUFwoJZjEAmckaXD87EyadnCZsBJuO9GDT57HhrdTh5smpMLNEOhRvCkYwqTAVVw8VLvYckJeTikXZVG/fdXViAI0t3finN47iIw4W2OdQwOnG6yuP4ptr2mFjotyPoA4FCQqyk7GYN+aJGAuQ1B4m3emFTbX4/fYuePveRCACp9WG379bgTufP4DHP21E23Fb1v7IKUzDnaU6oqx9n0GGdmIGj71yCM/u7YbtuPMcwR/A4WOt+O5rR/ByvRvh4wyPrieFcu7YDFw+wDve3WnBj6ktdz+3D/+5tgX1HJV3AEzJRkzP0ULDEke8KaStsmWO2Bo6BVRSPdLUpQhFTtTLy1JjjUtQYrgy9ksCO0gTXH+oR4xJnUqGJdMzkJ/++UeQvpQwmOFlfNpLysvLJS6XS+L3+yXBYFBiMpkkXq9XEggEJHK5XCqRSER55JFHvhe7ZlQg1aQSG2W8cca0s7HTgxS9khjJhXXuMWmk2HO4E8c42uvAZR3hYKbEN64pxtLc4VlBhYN+fEpq+g4bUT7WGhihCHIyk3AXMSZjn7evUMuh9HnxyVEb3CxDMFHjS4iYt1t68VFFN/a29KKizYG1Fe343Roi7nss6ArTSbxM07e5RCQ5hPniiVlYmNmfsclUSqRJAlh3zIoe3hTna0njCPj8WF/Zgz2tblicPnRb3DjUaMMHe1rw35/U4m9HHeilbjnabENlbxiz8k0wk4bS97bsB1FqlGDt4Z7oPkW8D4lC2+wefEx9u6bSggPNdqw70oXnN9XjP9c1Y1N3IOr1Ha/MH4Qx2YSf3ViK2exhH0M45MNLq6rxxwMOWH0BbKjqxoqjPai3+ODzhxCk6+zU9r2HW/GHLW045KR3xm1gpiGR49ppOVhWoDuthGZS5KDZvRv2QDMRwxCKDJfj2uz/hFGZHTvj0sbRJgfe29oGpy8kFNqrpqZhYfnoDHfy1FNPbaaPENFZlnKOF/oejEQi8c9gn+99CxONMH/SsXAoFIoQHY8olcqI2+0WnwqFAvSJhoYGOvXUON24vWQxe7wZ88qSRQdxVr2PdrWhiojlhYQpyYgby0xQCMYwAP4wsrKSsLzoQll5yHD5tDw8UKaHhKO+En0TYAKqkJFE7sMbu5vxkw+r8J+rGvFBoxu9ghhHOII4sbHhQoIZk3LxT7NToQvFTE8ZNOsD4SBW7GnCt14/jNv/fgh3vlKBf+acER1+BDg8CEd5JeL5waYG/HW/5YRndR9kFefgF9fkII/3ReLaC0MhJYUjjG31FvxhQyN+sb4RLx1zoJWnHoc4Oc4oQlCptHj8mhJcV9BXUo3g8KFW/GpbF5yc30MpI01EguoOB36zsgp3vbgfS5/ei2v+uge3vlWNj9v9iMQ1lWAYyWY9riw0DCqdDUSSKg/Z2skwKXMw2Xwb7iz4G8yqMbGjlzYaO134YCtps26xk4dZY824fGJ69GACFxSx0ZzAQHB8n6umZWBSgYkEwwi6HAF8uKNdpOS8YFDIRRjlCZwblYkYzwZBxFgyleHqsjSMM53hxna8jj6FPwaDxmjA/1teii/x3gn7EDA1jp/MGgBbMsVyYoiFfG8IWRlJ+PbUFOTw+jyf26fwx6BQqfHgkrH44dxUpBDxF9ZDTPj5HpwHQi2Dh/4Mcph0LRXWivi4MG2VYsnMHNw5fuBeQhxSXLWwBH+6Lh8TOQQ8Lzsd70v6h5mOuAcVDmTI92Tws3qCMOs1+OfrxuG7c9LQP+RWBBK6tshIbDFEFTIj4jYxo6H6ePmsxeFHvT2AXr4Z/87gZ5Mo8KW5ubgse/ia6fy0r+O2/CdwQ96vSDk5D176owBdNi9WbGtDm43mIM3JCfkGXDszE6p4qPgELigSvXwK6IkI3DQvG6U5HFIhIjy8Wf3lxEkXBhIU5CZjUY4KcHijuSO42H2QqzVYXmYGRwYZLtiixsu5FeL1cGEHNyK6J20NxJCZl4Ff31OO7003I5W1WLYGY8IYv4B9CbhObxhlY9Lw5O1luK9YB4fV1+8+QbqPawi/AobaZMD3bpqIv91QgIWpRIADdB/e/RVEmK5jws6Xi/vRMdJ20kxafOeacfjrbaWYkX6KfRuZEjcsKsUL94zHA2P1MDG34KjCTLj5ObhevgfXzcyE6pdKpFg0IQtPfnkKfrAwcxDPeCnKy3Lx5wcn4xdXZGEaMW0RgpzrjWswrEkI7Yf+FvUGoNGo8LUlpfi3hRngWIXDhUmZS9rFlNi3BOwuP1ZsbxMe2pGIBIUZOtw4JwtGFlwS+FwwGOmJy1OX7J5FX6iVMuSmatDQ4YLdHUJPrx8OYhbF2XqRTOl8Q6aUw0wSr0Slwvg8E6bkGVGebcTyKdm4qzwZhvjewzDAGpHNFYI2RYepY0yYTHVNzDViXkkKFo0xnORsFofeoMVl49KwMEsl4kJJImFEiDA6/RGk65SiPXfNGYOfLi/CZbk6+L0+2CIKlJIWxu2dRPeYlp+ExeNSMD5p6MksVSgwviAZ14wzY5JBLvIbKYnS+oiZsVmkXCpFrlGFSdkG3DIjFz9ZVoL7pqchdTiB+Yj4Z6WbcBVpY7xJbVJKiI5LoAix812QFAkJsulZStN1WDw+A/+8pBiPX5GPudnaITQWAjEwk1GLBSWpuLYsGdOTFdBTo0WWV2pvL2s+9H+yRoEyqvfKCZn4t2Vj8fWZ6UhmLSaBswKH8nhvayv217IZtwSZySrcvjAbOamjf0N7JO1ZDDYtjjOL0ZaD+1xQ1+YU+bs77H4inhHhxHfn5bliuep8g4l8kCRgFlDFdyoyIlRnE2aZLbpoFPV70fTORF3DqS1AEr/D4UMbPXcbSdAZWiVykjQw6eXHierA9kYhAYeCH7hPPySoDh8RcStpVM2OALroXhqS1LOIoGeZNdASsT2b548jGAzBTdJpFz1LM2kDftIUcnQKpBEzMtGnctgN7QNqs5/qdTp96LD50UTMgns6jaTd3CQ1ks623gSOgxnFhzvasPlwj1gpNFHf3r0oV5h6XwoYSTm4BxvJ8d8SzGIADtXZ8OamNjjcAeG7tXBCCpbNzoTqAjCMBBK41BEk7vDpzjasOdgtjAF1pMLdMj8b00uTY2eMfowkZpHQjc8A5QVJuGFOhtjL4KXvLUcswoOUl0wSSCCB8wfWiDcc6MLGw9GkZGrSLJfOyMC0kkuHUYw0JJjFGYD3XKeXmrF0erpwsOKlF87h/dnuBMNIIIHzBWYU6/d34rO9HfAHw9AqpVg2MwPzylLFHEzgi0GCWZwhSKXD3LIULKfBq5RLxMDeSAyDnd84414CCSRwblh3gBjFnk5iFBGxT7VocioWTEiFLLH/84UiwSzOAjxoF05KJYaRKYKWMcPgkCAfbWtDgM0xE0gggTMGG0qsIW3is93EKEIRYSCxaHIKlTRIz8G4IYHzgwSzOEtIScNYMDEV185Ih4oYBrOITUcsIlyyP253n0ACCQwLQdLK1+yLahS8sc2M4vLyVJHESMmhWBL4wpFgFucAHtALiWEsmZ5OGkZ0SWrT4R6x6e1hm/sEEhiNiFjRZH8O+3sr+8VsPFtwXK2VxCRWErPwEaNgLeLy8hRczYIYO98kMCKQYBbnCM6DcfmkVCydnin2MHgZipekPtjWCid7OieQwChCyL8Zaxu/hndan0FrwN/ftvIs4A2E8MnudtIquohpRKBRSrFkaprIS6FJMIoRhQSzOA8QDIM0jOtmZUKnlovYeNuPWYXXqe2ChQZJIIHPF72O3+Hl+n/EbrcHM/JexTXJE/snmzpDOD1BvLu5hYQri7AsZMfLZTMyRUy2hEYx8pBgFucJYtObGMYt87Khp0HPtuG7q+14bUMTuu3sS5NAAhcrQmjrfhyvNv8aDYFkTMt+EvP12cOKoDsUuh0+vLWxCTsqbVFGoWbz2HTMn5iSsHoaoUgwi/MINqudPjYJty3IQaqRoxxFcLTZiZfXNqKh/dT5ly8FsLWL3e1He68fbf2KDz3ugLCp/9wRDsNic6PV5uuX9ymBGCJetPb8Gz7oeBntkRLMzXkRV5myhhUqZii0dLvxxoZm7K/vFctYRo0Mt87PJmErTYS1SWBkIsEszjM44tKUYmIYC3OQY1YTMQLqOz14lSYHhwu5lOHzOvF/7x7EDX/ejWue3I2r/7ILV1G5+i+7ccvf9uLbbx7Di3u70eb+/IwDwj4vfvf+QXzlgwb0nCpB9heMUCCIxvZeNNvOfZ9g+Iigy/Z7fNTxLDGKUoxL+zmuTsqMHTs7VLc48dr6ZlS1uoT2nUZC1R00V2aUmuloglGMZCSYxQXCuDwD7lqUi6JMnZjc7VZSu7e0YOuRHoQ498MliGAwiL21FtTZgpiSqsP8DC3mpmsxn/ooVwVsq2rDwy/sxQOvVaLC+jkZB4QjaLa6cYzeT4ip1wiFu8eGH790AD/d0j1kePnzDYfjT/ik43m0BkzITvoWlqfPjB05c7BWuafSIpZlm3o84nt+mgZ3XpaLiYVJdEaCUYx0JJjFBUReug73LM7DlAIjOLma3RXC+9ta8cnOS9O0lsmBRCnHpPJs/N/d5fjLlybhKSpP3D0RT98/Fe8+NgO/X5SG7Xsa8P1Pm2EJRq+7kOA2yeQyqBQDUrSOMHCI+MNdblQ6gp+LZhF2v4p3Wp9Avc+OFMNduCr9BnBWl7OBl8b66r2deHtrG7odAepnCcryjLj7ijyUiFwxCVwMSDCLC4wUowq3kfQ0d5wZnBvH649g7YEesWZrcVx6G98sUTKJlilkosiVVOhTo1FiTLoJX79hAn4404hNB9uwpW3o/gmTeM0bo2cK9oXhEseZMAi+brj35Ofkc4errcSfZ7Czw1SHRCqBWimFhvqKQ84H4ucPdkH83lROjTCdsxdram7CE0cvw4uNv0SLkGGOYGPrH9Hid0OimINpqY+hUHl2+efZGvAd0qjZ2c7lDXE6dMwsNeHOy3OQdYFz2idwfjGYQUN8/iSSH50nsNRakm0QjnvN3R4RyoCXpRo63cgwq2DWDz+D9cWMgN+LN0mr8hlMuL08efCsf1IZzCEPnt9jQVZxGhb3TUUaDqOuzYr3tjfiD+sb8eTODhxpcyGskCPToBTJjQZFJIyWVgve2NqIX69vwluHetDaG0RashZmWRgf72tFg0SL+6emnZxcKhRCbRMxd7r2/zY04qX9XWjo8UKmUiCN3ls8pwcj6POjssmGj6i+l7c04VdEJD8+YkUHaQNGgxqpg2Sbctld+HhXE/6yvgFP7urA4RYnesMSmDQK6FjbCYewYms1HvmkCRUklbfY3fjkSCee39GKNw85aFwZkaeXRyujc4/UduFFqus3m5rw6TELWu1+kVDLpJFDcVL/tONA66+wp3czbCEnbJ5WhGRjEHT+GVvt+xGQJKM4+fu4PHX6GeRYP4Fm0oR46fVAvUMsnamobznO0/Wzs6Gn50vg9BhJyY8SmsXnBM6qt3hqOm6dn4M0k1JEz2zo9ODldU3YfrTni7EEGqFQk/TMxMnfRzIO+314a81h3PjEXvx4Sxc6/WEYEMBn+5tx51O78Ng7tagmonwSggF8vKESy+i6H2zuRBddFyGm9dqmatzz7EG8Xd2LsGzwRFABjwfPflKBpX/Zj58T8+J9d5nPh79vqsV1f9qJ73/aiJY+m/Htje342nP78eOtxMSIsCcRcbRb7fjfFRW4/m8H8H4tMbbYuYzebiv+9eW9+MeVrWgLS5FKfPFgXSe++cIefOODOnTzhjs1TE08JpXayCxBKYkgnTSMFPrNTD8ctzIlRrFuexVufb4CrzR4YNIrEPJ68czaKtz4t314u7I3dmJfZGFqzpO4OXMxtFS7UtaDIx2P4YPOrfDQG9Cq52F22rXQxc4eLjhcx95qG15c04TKlqgVYDK156a52bh2VlbCh+IixWBzJP5bIvnRBUJ9O0uT7ahqdYplBI1KhtmlSSR1pcNMEvJohavXirv/vBe92WPw+t3FSB9UuAzjjQ/24qub3fjDV2bgy8VakqOCeGdlBR77rBNXzSvCd+dlYmKaCioinK0WFz7Z3YifrGnH2KlFePGOYmSrj1NQbN1WhTvfqEfppDH48ZU5mJGhgUYaQRtdxxL9y4ftqHf4kFaQjffvHYfMeMrWgB8vfHwI31hvwe2Xl+Dbc9IxnrRAeSSE+k4H/r6hFp91yPA/907CoszoO+u1O7GlzoX0TD1KjEqhGXi9fhyq68a/vHMMLUmZePehMpQZiVhGgnjzswp8e7MTP71rIu4dbyTJP0J95MWOagsagkrcRJqOWUnPQoPE0diB5X89BNOksXj31hyxJMCsVCon7YMkD2dPD27/8z6Ei8bgL9eNQRGnsw0EUNvRiw11vSgpSMOCPO2gEx6ROmyovgMbfS4oxBm8HJaG8uxnsTy5+IwkSocrgE2HurH5SA88PmKNVF1hhhbXzsxAaY4hdlYCw0Ui+dEljoJMnbCUmjs+RUSt9fhDIskLmxTWEAMZ7SApA6Q8DIIwDhxowE82dqOwKA2LczkDONBS34Z/J2YwdVYJ/nxzEWbl6ojByiFVKpCbmYRHl03Ab5ZkYs/uBjx94IR5sttix6/XNkM9JgfP3TVW5B3Xq+WQxa77yvLx+NYUAyw9Xkgi/cloZU0rfrG5B4sXjMXvri/A1Ewt1MTU5WolSvJT8aPbp+Dv95VhVtoJ5m4w6bF0agam0fs1aBWQ0kNqDRrMnpyHHy/LhbWtG1vaPNGTQ2FUd7nh12gwL99A/UH3l0ihM2r/f3vnHRzXdaX5rxO6G0B3o5EzCBLMQaRIKlCBSpazPPaOLdsjW7I947J3tsaunfEfW+tdldZTNa6Z3RrXBu+utmwr2JZtybIl2ZJIURQpihIhBlEMIEgCRCZyA+gGOoc956Jv66EJgFlCOD/WrRte6PeajfPdcyPuvrEaj9xEFQcWCobEgPt3lP9jMas031uVpeclhMaDOBFIYnWle1IoGJsNS6sL8cgddbh9JqFgTPVYW/Z5FCbjyvNJkcdmcT6I7d7LEwrep/7ZfV144/igGsCh+icaCtQ2qCIU8x8Ri4+IQpcdf7GtEp+7uQJup011cJ7pCeDXb3RRzWxwgS51bgK5ohgaDmDfyQG8ebIfuynsofDCgXb8/VNH8NmnzsBfWIQff2oJKtVaEgl1Xqc5D9+7qxre7D4FxmzF52+uxp0lwO+ODWAs3TJ0usuHRtKOh7fVoFZ7DEbMNnxySx3uq7YjFP+gOQmJGPaeHESn3YV/f3s52BHIxuKwY2lpLnKzjgXJu9jZ2I4fPncCDz59HN97/jSefvc8BsJAkTWFwQnep5uwWHHbMi/yBofw8K9O4PmTPgzNMr+EO6tVtY+8jOn6rd2FHnymwoZf7DyNf3i1E8cHQmo/iEvF4/wUltgjiKWoMmp7AJ+u+jpcM6rLVPjZGk/58Cv67Z7oCiCR4KU7rPg4eRNfuKMKJQXSkb0QELH4COHd9niZ84fuqUUdGR6uQfrIjX+hsRfP7evB4AJbJoQrwQ4y9k2t/fjGr47j3zzNBvUEvvjLE/h3L7djT18cn7xjOf787Rtwf3XawCSjaOsJw1yQj5WFM3eKWgpysa3EgTaqrfeory2FAV8Q46kcrC61q3Omw+nKQX25QzUHZkxrJI5zvRHkFuShNi/deXxRUjh2tA2f/h+H8O2d3Tg6HEGIJ9L5JvD8kS78t729aI+b4dD9I+RF3H5jPf77A7UwDQzib35xBDf+6wF883fNePH0KIJkcC8Hu8uNH31xLb6xzIZndp/GHf/aiI/93yP48Z5unB6++PpkVmsN6j33oMT9fTy89F+w2nFpngCP6OP1nf7wDv1e/VHloVUVOfHVu2tw36Yy1f8kLAxELOYAy6vy8fX76tTwWrvVBK7kHjw7gidfa8fhMyOIxGaucc43wuQxrV5ZgZ9+fROe/sZGPPnIRjz98Eb8/lubsOPfbsH/+dxSrDeKAjfBcBNNMomL2U8eTsojonLSv+okXZCiMm46nxE6Fp/Gi+Nhzjx5MnGJtevA+QF89/mzGCgowlOPbMKfvr0ZL35zE/7w15vwLL3jv3ysCvUWehZ+pvQ1JrsdD9y1Ei//7VY8+eUVeKQhHydO9+IbPz+C7+/swfBlrv9dUl2Cnzy8Ga+S2P7XeytRiSj+98tN+NwTJ/BKe1A1Mc2IqRiryp/Ad+r+FuWXYOC5E5tXJHhyVwf2k1fBXgyvurx1eQG+fm8d1tS502cKCwURizlCIdVwv3B7lVqIsLzArpobeobD+P3+82r12l5fuq17HsPvxHa53JuPT60pxCdWFuFTq4rwCQo31XlQrIeAGjHlYEVNLhK+AN7uCqYLLyQ4FMCb/SGsrXar2eB0ISpK8uAxRfBW23QjgSYZpZr/8a6QWpOIPR+Fw4pV1bkID/vx/uCleHcpHD01iOMTOfjux5bhzpo8/vg0JlgddlQWO9Uw2wubkEzwFrnxmS21+C8PbiDBvBH/sNGFX+1uxZ87Pnhf9nwY3UcxEyabDesbSvHX963AMyRYv39oJdwjw/jHN3omR1ddA3hhTN6z5bfk/fKIPv5/5bXQPrO1XP2GS7wze3LC/EXEYg7BS53fvLpIufCblhaoeRkh8ioONI/g17u7cLDZp2p0850ouU6XvtWHGfdsqMAGZwQ/2dmG09MNj42G8bPX23FgPAePbCmFHgy1qq4Id5Vb8Zt9bdjXN43RDwfx8zfb8NZgHE4b/Snor9Zso88sxzprGD/a0YH28Qs9u+REEG8cG0gfM6m5M3z9tP89yTj2nxzA2VBS/Z+qxyMDO+IPIzjFe2Dh8OCrW8tQhTi6xj74kiY1gjwTUtvMcFkD8WgU/f6s5iZbDrasr8Bnl+WiaySEiavcwZFF4Qh5vL/c3Yk9x4cQCCVUU+qGeje+elcN7lhfArs0Oy1YRCzmIDUlufji9mo8cEslvHlWVavs8YXxh3d68Zs9neRxzFzDnuuwaZzOns6Gp7IU//TJGgy2dOErT57Ab44Po3c0DL8/hONn+/EfnjmGHzaO4qH7luPLyz9YPsJR4MEP7q1Did+Hv3riGP7fwX61LtHYWAjvn+nD3z9zEq8NW7C5Pg+RrPW6KmrL8Oh9VTh/qh0PPn0Szzf50EefOTo6gYNN5/F3Tx7BN3/fgnf7w+r8jeQlLbNH8dMdLdjTOYEYNzclExgcGMPPXmnGz46OwcYjmNTZQGR8HP/02/fwAN37xVM+1d6fjMUx3O/DE1RjH83Pxy1Vk6PBmHzyPGsLLTh4thcvtfgxQu9wrieQ6RQ/zv0l/+sQ/tPubpzoC6olNniexf4j3fj9uTBubfCiOLs3/jLoH43gd2/SvfaTNzEYQiKRJG/Yik/fVI4vb69VI/yEhc10Pq0uk3kWc4DuoSB2HRlAU1dAGSC2tIUuG7avK8Lm5YXIc15qB+xHz3jAhy/+5DAmqpfgdw8tR/nM/dUXkiIP60g7/uPOLhwbTaCEZ2xbUvAHyMg6nPibexrwvVvKcGFLVhJHj3Xihy934IAvBk9+DorI9fBPxLFqRTX++b5S/M/njuKVeCH2fHstqoyjppIx7Hm3HY++1o3m8SSKPDmw03/AEH2m0+vGD+5fjq9tKIBDzYxO4vDhdnyfPqcraUEDCT7/14QDEZRVluAzlSn8447z+NIXNuE/bykgZyOK3Ye68M9kgE8Gkqjy2JV3Ex4PYzhpw999ejW+e2MhPviKkninsRXfebEdHQkzqqkS4Xbm40dfWoN7a53o7x3GT3e345nmMZjs1snZ5Txz3RfBkqUV+Mnnl2GtHlJ7GYSicTXBbi95EgOj5LmYUuTZmLGqOh8f21SKOhGJ68pcmmchYjEPiMaSePe0D/ubhukPNoxkyqTGsC+vzMOd5PovrchXS4rMdaKREJ56qwcRjxcPbypC/hVUdMPjQRxs9eGtznH0JSy4qcaN25Z6scQ7+2TGKF134Oww9nYFEc+x4baGItzZ4IEjFsXv3u1CuykP39laBvc0Q3MnxgJoPDuCveeDCFqs2FZTgFuXeVE+zXolY74A9p/x4b3BMMx2G25cUoTtKzwIDo3hiYODuGF9lZo/oj8lEgrjRMcoDnUGcDqYxMqSfNy5shiri6dr90+ivX0YL9NvoSVsxq31Rfj4Ki/cej4G/W33kSdz6NwoGvvCJBo5uHWJF9saCuCZbsjxLPDQ7bbeCbWn/OluPyLxFMwmE4qporJtTSFuIk8q1zF/KirzFREL4Yo4PxQiwRjCsTY/xsO8+qgJLqcF6+s8uJX+gLn5ShCulh76nXHl5GjrKMZCk31E+eStrFviwm1ri+V39iEiM7iFK4JH1PzFtip85a4arKnhWb+An/6Y32n24enXO/DKwd4FNzdD+PDgOROvHe6n31In9p0cVkJhNZvQUJ6HL91ZjS/cViVCsYgRsZhn8PIgPIad9wL47M0VqCjg5ooUiUQUr78/iKd2dWAvxRPpGqEgXIxINIH9J4fwBP12eClx7sjnOiXvYvfJLeV46N5abFjqQY6MdFrUiFjMU3jtIe6v+ObHl+DuDcVwOa283BC6h8P408E+PP5qGw6e9iEcEdEQpmciHMfhsyP42avteOFAL7oGw2rpDpfDiltXe/Et+m3xSskFi2QJfWF2RCzmOaUFDjxwaxW+fl8tNi/zIM9uUXMx2vuDePatHjy5qxPvnR3FuHgaQhr+LfAIp6fot6H2w+6doN9MErn02+E5E18jT+KLd9agvND5wURFYdEjYrFA4M2VHtxeo3Yg21A/uboqL8HAQ25/u68bv9nThUOnRzASuPg6QcLCxB+MqeVjfv0GicS+LjR3B9RkQofNjFVVLvzl7VX4yt01WFEtK8QKFyJisYDg/owN9bwkdA0eJNFYU5MPZ87kEugnOv147u0e/HJ3B/YdH5SO8EUEVxD2nxjCM2904bm3uqkCMY5wNEm/DQvW0m+EReLLvGpAQ4HMwBZmRMRiAcJ7PWxYWoCv3l2LL99ZjQ1L3JOiEYmjtS+Ilw724ald7Wp9Hx4mKSxMeD2xXUf68eRrHXixsRenyMsMkkjkWExYTd4DVyi+Qr+RzSu8cOde/oQ9YXEhYrGAyXdasbHBq0azPHRPHdYv8SjRiMWS6B4K47X3BvDzHW347d4unOkOLNA9NBYX3F91rnccz5MH8bMd7XjlcB86BoNqTSmn3Yx1tS585a4qfO2+WvIkvOo3IgiXgojFIoCbFtbWufHIfXV4mMJWqkkW5FFNMgX4AjG8fWpYDZt8Yme7GkHlC0RVh6cwP2CBGB2P4b2WEfzy9Q78YkcH3jwxjGF/VK0rxptr3bisgESiFo/cX08iUag2JxKEy0HEYhFhtZqxqsatjMbX7qnFXeuLUVnkUOPng2Hu1wjg2X09+AWJxp8b+8jb8Ks9lYW5yXgohrM943j1YB/9n7GH2I0j58bgD8dhs5lQVuDA7WuKyKuswV/dXYsN9R616q0gXAmy3Mcip88XRkvvOJo6/Go1UR5WmaLqqNVsRp7DgqpiB1ZW5WNJeT7KvHapkX7E8AQ6XgGWm5pYKLqHQ2qp8Fg8BZM5pUbB1RQ7lSe5rCJfVQbobzR9tTDfkLWhhDlHIBhDN4kFD7U93R1QTVE8rNJMvxf2PHj+Bm+X2VCZR0YoDxWU5v03hOsP78/e5wvh7PlxtPUF0cmiHo4hGuNd91jYTWrzrBUk6jy7v6Y4F25uZhTmPSIWwpyF27/HxmNo7vajqTOArqEg/MH0hL6USTVj8OKF3MSxqsal9g6vKLIjx2qVCVzXCO5niMbiGBiNoXNgnP4vxnGePMAxEnTecpeXCec/43wS8JoSJ1bXuLGaRMKbbxMBX2CIWAjzAt6DurM/iNM948rbGPJHVd8GLwmhoF8KG6zqYieqS3LRQB5HWaFDNVXNhyXT5xLReBKhSAKDoxG0kAfRPhDEedXEFFd7Z/MfJS8Rnmc3Ky+ChXp5ZT7qyvLU/BphYSJiIcw7eB2h7sEgWs9PKEPWR0aN523wLHFuJrFYTGqSlzfPhloSjqoSBypIONiwsXg46JjwAeFYQgkvj2LqIVHoJc+hc2ACI+NxJRr01608tRzyFHIdFpS6HagtdWJpRS55c3lqbTBh4SNiIcxr2MANjoXRNRhCG3keAyNhMnIxVTtmr8NkNiGHgivXCneeFeUFDpSTcBS57Wpjf24u4YmDiwnumPYFIuSdxeAbj5DXEEH/SET1FY2FYojE6O8ylYKZnIQcqwUF9L1VeB2oIq+tvjwPJR47vCS8wuJCxEJYMKja8UQU/VQzPtc/TrXjMOXJAJIRVMJB1WNyOpTnwbVkr8umVsj15ueo5qsiMoC81ambyubTFrEzwf0NQfLCeFQZfwdDYxH0kSjwVqx++p7G2HOIJ5BIAEk6mf7wVfOSh8ShIC9HjT6rL5scxaRFVfqCFi8iFsKChGeAR2JJ8jRC6BoOo28ohE4Kk15HCrFEUhlTE+/jTFVoHsUz2XxlJo/DTp5HDvIcVhSRkSz2TIpIvtOmFrqj39mcMZr8Dmzo+X15HgqLJY8e4wmOLBCjFA9TfoK8iWQipQYNxEk4J999cg0vXnKDBaKq0Kk2tVpSmquGJttsFvIspA9CmETEQlgUsEHlWrbPHyWPI6j22hgdjyrxYAMbT5pUzZoD95lzzD+/HJtJCQQP2eXRPV5V67aScbUp8eAlKnhWem4OGVY6z0FiY7GwEaZauLoDYCYhuhwma/mTfx3RGBl5eiBebI8NPW9hG6KyEHkL3OHMq7cqYaA0L53CzW/cB6GHsurPZ4/KZDKT5wC4c60oJK/K67KjhrwG9iBKCpzkOVhIOC/vWYXFg4iFsGgJRxIkFlG16i0LxsAIBX9EdaCHqSYeirDhJQ+EzjWKyKRXMeld8MhR9kh4JBaLBY+8Yk+FY/o9KuPLgsPNO5opv3rC+MPn+0fI80mQMPCZ/AzJFHlJLBb0AGrSGy9/QhfxuXwzjkgH1GeoZ6J/dqsJueQZcWc+7w1RQt5SmXfSQyqkUELe0mLrqxGuDhELQUjDNXoWCW7jV529E3GMBuMYpzTX6NkLCVCejTXPUo4nJ2v7XJtXs5bp18peABttNuT86+b0pNx8AMlIWnAm/wL4c42wsecjSgT4XpTjCj/nbSRMLETsLXCag5VcGXcehVwbPBTyuTOfvB7uZ2AvgvtfHOT9XK6HIwhGRCwE4SJwLZ8FgoeR8oqpLBDBcAxBqvWzFzIeZi+EjpHQcO2fBUfV/unnzSJDmjLl1z1OghOh41zEXog716JEQUHXsE3nIarslVgsZjUMmOe32SlmoSggAXDYrKoJjM/j5jEut+dwLE1JwvVBxEIQrhLdx8Ajrjhm70J7CywcnNRawHD/Q0w1M7FYTHaqZ7SCz2VhIKPPReyZsEfAx/lcjo1NWoLwYTGXxEKGXQjzEjbeqm/COlnD545iHkmlRlPxfA4Pj676IPB8hSVluSrwEhnG4yrtsqtF+Ph6vhffk+/NnyFCIQgiFoIgCMIlIGIhCIIgXBQRC0EQBOGiiFgIgiAIF2VOikUiFsHExASC4QiSU/rjPzz4GYL0DBPBsFoimolFIggFgwiFQggGQ2q5hxRP3gqHqJzLgojEeMOBa0Uc42MBxPQDzAI/RywWQ3rAjyAIwjVlzolFZGIIjbtexUt//AOef3EnznT7MsY6lYgjzmPpL4FEIpEe95VCPD65J0AGMqxxMvTpDGUn1yzShEf70PjGa3jxpRfxwgt/wjtHzsE32IdXXv4jPdMO7H5tJ3a8ugetPWMY7T6BF//wHF7euQuvvvQCXt59AAPj0fSdJkklE8qQZwsfl/P8AQ0/R9xg8JPxETT+8QAGgzMJEL1b+r7xqB8nW87SuZMXJ+idL/W7EgRBuBjTbTKgxwma1q5da6IavikajZrI4Jo8Ho8pHA6byPCZrFar2WQyqfCtb33rB+lrrpIkjr69E2cT9bh321oUuxww5zjg9eQj2NeCfW814tSZTkSteSgpNOP42XaYnYXIs8bR19qGkMmKieFWHG06i7buEbi9HvSeOowDh95HZ18ABcWlsMd8ONz4Do6eOINYfjG8tjhajzUj4XQh35mDeHCAPmc/Qvn12LhuFWor3Aj4/IiZJnB6JIr1m27B+oY6VNdUocSbi+H2ExiyerF5y01YtqQC451n0NFnw/JlxZOvlIri3MlDePvQMZzrGIbTU4R8RwiH9x/EyaYmnKT3gaMQxW4HOprfxf6DdF77AOwuL9y5cTS/1Q7PEhf6O7qRQ9c6rEB3UzMGRkMY7D6FxoNHMRC0oKLYhZ7BYeS6CxHsPIF3Gg+htXMY7tJytSyGIAjzj8cff3w/RQmys1xjzATKx1OplI7jhrwxcG0xyTEdS1IFOkV2PJWTk5MKBoMqttlsoBgdHR106uzMOc/C5c7H+GAHGdxxlC9bjeW1ZUiOtOLlN96Frawa1aV2nDp8CC1n23DoVDP6JqgmTQa5iwxv30gAzftfxrN7z6K01IO24wfxfncQZdXV8FiTGOo7j0NH3kMgkYvamnI0v7kf5/rCcHndmd3GhlpbMRbw4LZtG7Ckthp1y9Zg2x1bUFGYi/jIMDpamtHcfArnuvqQtDtgoevGBs+j5Uwzmo4dQ/tABMU1Jepek5iR7y1D/dKlcAQ6SbhOIBAYxJ4/7kMwtxKVziiOvPUOBiYiyC8oxZKl9cgNnceBxvcxHjGB/zPttiROHz+C5q5BciF8OHCwEU38ec1dKKpbitICB3lKIRKLAQz2d+Hd/afgcFegtrIYZvJeBEEQrpY5JhZmrNhwB+7fWAF/z2m88JtfY/+pTvS3Uc2/dAW2b74Bm26+E2uLXBhooxq5xQabmRwhkwlWWw4sphTiuUXYcNt9WFPrgn+4F3Xr1mPrjZtw0203odwxjuZz55ByuuFxuWDxtaBt0I+KZUtR6HaqJwiPRZFv8cB1wTdjQspkhsORD4/bhbw8J6z00ZMzhe3II0/AlW+nfBSR2LiSfwX3JYTGMHC+D4GgDz1jPrU6afmqG7H9zo24adtGFOeOYSw6gUQsgIHefvgnRnDe70M4nkIqkUCOtwqrl5Wiq60bve0tCNnrcMfWVbAnJ9DWfh5Whxvk6KkVUC15XlSUO9DV0Y6AKQcu1+R7CYIgXA1zTCxSalXS6lUbcdfHPo77b12BM61nMBwhQxiOIppIIpmIYjwWJaGwIxkMkUFNIBkPkzAEEA4nqHbuRk2ll2+l+ikmQkEk030BLCrhCb9yuTo6O5G7bC0aakvUcXLT1BN4l3jRH27D6SHuC+AtQ+MIBScQputdVfVYu2kj1qy/AetWkqdgpudJmlG7YgXWb1hNQnY37r93Jbpaj2OIJ+YTIy3vY+/rLVh+2624eUMDnDZ6tEQKFqcdykmMJ2HPs2O0rRV7dzRj6S234JZNK5HvIHHi5+L+joQZy5avgm3gBP60433U3LgB3uIq3PXZv8S2ZU68suNVtPaFYKMbxpGLjXffj0/ctQG9B3dgz+Gz6v2yF84TBEG4HOaYWCTQ1fQOXnp1F945eAjvn+1HqacYSzZsRVW4C3/e9Sb2vrYT7YEYllLZLQVWnNjzCvbufAPvnupA3GSl2j5V9xMkDPZirGqoR8/Rd7Hr9T3Y9coutPhycOuWW1HpzYPD7YHbW4lCWwQtR99Hn29CPYGnYiU21ntwZPfLePOtt/HmG69hx+uHMBZIItjbivcONOK9w4fw7oHD6Oobg8WaQntTEw41vodDB/bj0KEulJbVo8CubkealgunJYzWppN479Q5taCdyWKBSQkRncCtaCkTbA478q0xtJ2i80620OfFYCZPxmQ2K8GwFtWiviiM97sS2LS0AP6BDhx8uxH9dJ7LQx4NL39hs8IS9eHUe4dwonUIuQ4Pck1humcTunt9kw8kCMKCwGQy0Z89L9j/4TDHOrjNKCwrgy0yhuFACA5PJTZvXIuCPBfql5RjfLgfYYuHavAkHsUulNZWIDXhQ9DswY3btmIZneP2FKLEW4D8HAvcxZUoyU1heDQAd+VSrFvXgOrSAoT9Q1QWRHFNPWoKczHhD8Hp8ZJxpWq/2Yqy6jp4zGH4/AHEzW71ebWlHjhTCR6ixOOn1GiqvMISlJYWgb4cVXuPx8lwVy7H1s2rQI6Bwl5QiuJiKwb7RuCpbMANG9ainJ6vsIhCQR4sFhtyXYWorFuKyjI7+smou8rrseGGdagoJEEr9sLjsuJ860k0nxnDiq03Yd3ScrXRT3h8BMP+BFat24o1tcXIz3OjsqQItkQQw8OjyKtdgy0bG5AY88Oa56HjaQUTBGFe8Pjjj79FEXdS687tOId03tixfd07uLUwGMmIhaw6OzdIhgI4efQQBhJebNmyHh6HjG4ShMXA5s2bf0w2lsfi82qzHEcoVqvOcsyrzZII6NVnZdXZxY7Z6cK6W+7GvbdvFKEQhEUEGfopxpvzWWXZzHbsqrhqseCZ1sL1R1bJFoRFCzkRVz9CxWq1XtU9rlosyOW5bkomCIKwyElxf2iabFur8trbmM7jYPvMwWKxqGM6vhKuSiyuVqkEQRCEmWGPIi0CytaScKi0QRgusMH62HTicTVIn4UgCMLcJSMORuHg2CgKOuiWnuvR4iNiIQiCMHdR4mAMLAo8DFYLRLqcUXG6TDGdaNhstgvKLoXLEouWlhZ0d3enc5NcTRuYIAiCMDNk+NU8CR2oiPswMiKhRYPj9PmZeDbv4koE46JiUVpaqsbh8nhcnsShxWFsbCxFQZ0jCIIgXHtSqZSaUMewWOjAh9KioSbbsThwiMViKkQiEYTDYQ6pUCiU8vv9kzc0oOdYsI2n7EXF44qaobQqXY92MUEQBGESLQ46sHBQMXsNuiwjFFo02C7rePIu14bZxCK1Zs0aEQNBEISPiLRnkTB6F8a0QTSmCIcWCm4JMoarGcE6q2fx2GOP4dlnn03npqKbo661egmCIAiTkOFXazzpOC0SuizTBJXtVaSvzdhmLv9IJuXpZiiZZyEIgnD9IC9CLRCoAxl95WVwmoWD82kB0U1TSjCyQ/p2V8VsCwkynDZt3749s5jgxMSEuaKiwuT3+y1Op9NCwmGhB7SGw2ErPZSVXsJGeRvHdG0OxTlUbudY58krUTHl+Rwd+FprOlar2VJaxZynNA80Vs9DgVExHTc+ryAIwpyE7BcbbR0UZL44rbwEOmyMWRTUCrPpwIsC8kKCvDCgWliQ7GqEPApeMJADLyCojnNM+Rhfz4G0RC0imJeXlyA7nvR6vYnBwcHMIoLcwf3ss89Oea40U/LTGVpjmUrz6rPnzp0zG8VCrzxLZWT7LVYWDXowmxYMuowFI4ceNCMSHFgo0nmjULDAWOlcXsWW70O3ITlMiwbHdI4SCyqm5ORzcZ5jQRCE+QDZs4xRJnt3MbHQS5Irw0+xEgMOdPwCwaBzlFBwTHm10iwdi+fm5sZjsZhabZbFguLklYjFbPtZMCrN+1rQh4EEQuXpw9WeFiQWap+LnJwcNuKZ/S040GmZOJ3mc4zegTHwl8aRfuBMoHIOmXXZKc64YVxG91SxBAkSJMzVQLZLGf904DK150Q6ZiHQaWMZC4PyDnSaKttxsnnsLShB4PvxuVzGtpCv14HOV59NdloJ0OjoaIpsd9JqtbItz+xlQR4Hmpqa6NTZURY6C2OZShv3tRgbGzNXVVVx2kyqZKZYNUXRh1vZw6AHzm6K4pDd5KS8DjqHm504r/bFoDJu0mJPQscZr4KhmOE484x03Pi8giAIcxIyYcaaeqYyTIZfd0pP61mkY+VRsChwTMejVFHXHgaLhjqu0+xVkEioJiiG97Gw2+1JFouCgoJkZ2dnqqSkJJmeY8EDmdTzcNrAlPx0htZYptLZmyDRh5gjkYjqt2DBIHWy0DHVFEUPrww/XZYRC/JCpgiFMaTPZZGx0Ivxhkpmjqk8IxQcGIoZ7Z1oMuXpWBAEYS6hjW7G+JI5yxhnsmccs0BwUnkDFCuxIHOoYqqI66aoTEznK6GgOCMULA6c12LB53ITFNlnbn5Smx6RnU55PB7O6wl5108sjDvmkWiovgsWDHoxazQaVTE9pOq/oMttVKY8DQoqb4zTadVXYRQLKuNvjrPGpitmJrEQBEGYy2SML9k7o3FmQ6eHwWrPQgkGlfNoJxYLZfg50PksDDrmPoqMiFCIkQeREQnus3A6nUosKE5m75DHYsHz6R577LFsoWAuSyyYC7ZX5T25uc+iuLhYNUOxd8FeBbk6SigI5WHQeUoUOHBeB/KKpggFvRifnxEKjqlMiQXH9EVlBCIdT3nG9DnpnCAIwtyBDHZ2ExSjm57UMbJ77FFkRIPizNBYsm8cWABYPFgYtFDEyNZOERGO6bI4Vd75ejUKipufuBmKm6BYLOiYWr6JxWKG7VQ1U8qmEwtN5tijjz5qampqmiIYPCqKxYLSqu+CYuVdkKeh+jDopbgPw6IFg4VBB/oydFqJCr1UtlBkxEILBYfJp7nwmemS2d5DEAThI4Vs24zGmGyg8ij4HI4NeRYHFZP9U4JB9lCJBl2mmprI1rI4KGHgwOUsFOxVOBwOFbNYsGehxcLYBJVufmI4nu4ZM1ySWBCcnjLfgr0LFgtuimKx4OYo7V1wzFCZEgx6cSUO9OAqT56F6qNIl3PzE2uEiumL4LQSC/5MjvkWOs8Pk04LgiDMS8juZYw0p9mb4JiCEguyhZmmKCJJNlCJBZlGFZNHoWI6TQkF2dyMYBAsEAntVbBQcBMU2emZhsyq50iHGZnN6BqPqfR0Hd2UNhcWFvIoKZ6kx+Jh4WYo9jA4JoFQopAWCZWml+csp9mTyIhEulx7FfyZargtx+m8CIUgCAsCFgVDrEZFcUw2TwkFw2kWi7RIsIFk8UiwWNDhKULB5WlPQgkF2eNMXwWdk5plFBSjPnsyOT2zGV7jMZWeru/COIyWm6S4KYqbpNJCwR0YSjAYFgsds0jQu/F5lFS+Vsar4M9jUeBAp2fS/AxpRDAEQZjPKMNsFAyyhxnvgk1iOk+mMak8C7KbPEeCNYFFg48ntFBw0xNDlfSkFgpj81Nvby/Pq7jYKCgdT8tliwXH2X0Xeka31+vlctUMxUJBL8DNU0o46D24/0EJB4sFiwQLBBWpWOezRYI/exqxyEDXpVOCIAhzF7J76dQHpMUhY6w5TbZSeRecZ1FgkeCYxUDnWTTIlrLHwMUJFgstFFSWZKEgYUj4fD5uckr29PSo/YjYq+APmmEU1DURC0aNiuLEdN4FPagSDPYwKG3mJin2MFgw6OW4P8NM5yqx0OJA76jK07GJYy0MnOeYztXPMeV5ZhIPQRCEuYxBHBgWBpXX5WQjlVhwedrDUP0YRpGgmIVBiQXH6XxGKNij4OYno1BQ3thXwR/FnzflWdLxtFyKwc2cYxwVxXktGDzvgmPKm+lFTEbB4JjKzPQCKqaXUl4GCwgbfBYNFg8tDlogdJo/Jztm6Px0ShAEYf5AdlDFWhymi1koOGZPgsWB8xyzKOgyTrM3wQJB9lfFLBQsEiwWlE9lD5Wdoa9CY0xfQMb4zoLxHE6zh6G8Cy7I9jCyBYNEgedkKOHgmEWDhYIFgWOHw6HEQQsEvdgUsaDzedjZlOc0ioYgCMJ8QQtCNiwGZC/VcS0WZFMzaRYIOs57UiiRSJ+vBCIcDrMgsIikWCRYLFgoyHam9Ogn/oxpxCL7WaZ9Ns2lGF3jOSptbI7iWAtGtofBfRiUV6LBBp+EQcVp8VCioIWDXkzdi9MsBhzrPMcaEQpBEOYzswmGjrVIpEVB5VkYOE82VaVZHCitvAkSkBTPzOY+Ci0ULBIsFnxPFgqOr6SvQnMphjf7HJ3PeBhaLLhQexj0gqoPg8SA+yJMHo+Hy5QwcJ5eTIkG543CwJ4Gp7UoGEWEY0EQhIWEFgkWBY61mJDHkBEMDiwOLBITExMqzwKhvQlOs0iQKEzpo+D7GIXiSvoqNJdjgI3nqnR2hzenWTS0h8GCwR4GBxaNgoICFbNYcOxyuTJ5LQac5pgxiogqEARBWIBowdAxw0KgRYLFIBAIZASCj3Oalx03NjvNJhQcX0lfheZyjHD2uTp/QR8GxywW7GWwUPDQWqNoaE+Dz9PiwOVGwXC73ZxUGAVkOkRMBEGYyxhFYDq0ADB+vz8jFJzXAjE2NqbyWjw4zSLBQc+juASPwhhrsvPTciVG1niNSmf3YTC6aYoFo6GhQYmH0dPgc7hPg2OdZ8Hg2IhRTFSBIAjCAkIbfqNgaPgYi8Dg4GAmzeU61n0TLS0tvJGRSmuRYK6FR6G5EgOcfY3OKw9Dk92XwRg9jXRRRih0rLlUcbiY1yEIgjAXmE4MpkOLh4aFQYsDexCqkOAyFghOG0VCCwRzLTwKzZUY2umuUWWPPvoob8+XOT6bp6Exigl7HunkFLKFRBAEYSGhxSAb9hw41k1L2oPgNDOTJ8GkRz2lc1fuUWiuxAhf7Bp9fEpfhibb22BYQNJJhYiDIAiLGS0eRmHQaOG4Ak9CM1P5rFwLozzdPVTZbJ6GRneIa7KFRBAEYTGSLQrZGEWCmcWT0FyRSGiuhWG+2D308Qv6NNLJC8gWEEEQhMXETALBsEhkeRCai4nBRy4WmtnupY6xp5GN0fMwMpuYCIIgLFSyPQYNew7pJAwehGa6a65KHLL5sMTCiIiAIAjClXOpIjBnxWImLuUzREAEQRBm5lIM/zUVh2ws6fh6IkIgCIIwz5mLhlzERRAE4Tp7CpcL73ctCIIgCIIgCIIgCIIgCIIgCIIgCIIgCHMc4P8DyvOrqeLwTLwAAAAASUVORK5CYII="/>
          <p:cNvSpPr>
            <a:spLocks noChangeAspect="1" noChangeArrowheads="1"/>
          </p:cNvSpPr>
          <p:nvPr/>
        </p:nvSpPr>
        <p:spPr bwMode="auto">
          <a:xfrm>
            <a:off x="2190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5" name="Finger tipping at tablet"/>
          <p:cNvPicPr>
            <a:picLocks noChangeAspect="1"/>
          </p:cNvPicPr>
          <p:nvPr>
            <p:custDataLst>
              <p:tags r:id="rId1"/>
            </p:custDataLst>
          </p:nvPr>
        </p:nvPicPr>
        <p:blipFill>
          <a:blip r:embed="rId8">
            <a:extLst/>
          </a:blip>
          <a:stretch>
            <a:fillRect/>
          </a:stretch>
        </p:blipFill>
        <p:spPr>
          <a:xfrm>
            <a:off x="1001555" y="3061487"/>
            <a:ext cx="3091437" cy="1716278"/>
          </a:xfrm>
          <a:prstGeom prst="rect">
            <a:avLst/>
          </a:prstGeom>
          <a:ln>
            <a:noFill/>
          </a:ln>
          <a:effectLst>
            <a:outerShdw blurRad="292100" dist="139700" dir="2700000" algn="tl" rotWithShape="0">
              <a:srgbClr val="333333">
                <a:alpha val="65000"/>
              </a:srgbClr>
            </a:outerShdw>
          </a:effectLst>
        </p:spPr>
      </p:pic>
      <p:pic>
        <p:nvPicPr>
          <p:cNvPr id="26" name="Man wearing vr glasses"/>
          <p:cNvPicPr>
            <a:picLocks noChangeAspect="1"/>
          </p:cNvPicPr>
          <p:nvPr>
            <p:custDataLst>
              <p:tags r:id="rId2"/>
            </p:custDataLst>
          </p:nvPr>
        </p:nvPicPr>
        <p:blipFill>
          <a:blip r:embed="rId9">
            <a:extLst/>
          </a:blip>
          <a:stretch>
            <a:fillRect/>
          </a:stretch>
        </p:blipFill>
        <p:spPr>
          <a:xfrm>
            <a:off x="4481554" y="3068173"/>
            <a:ext cx="2579026" cy="1717200"/>
          </a:xfrm>
          <a:prstGeom prst="rect">
            <a:avLst/>
          </a:prstGeom>
          <a:ln>
            <a:noFill/>
          </a:ln>
          <a:effectLst>
            <a:outerShdw blurRad="292100" dist="139700" dir="2700000" algn="tl" rotWithShape="0">
              <a:srgbClr val="333333">
                <a:alpha val="65000"/>
              </a:srgbClr>
            </a:outerShdw>
          </a:effectLst>
        </p:spPr>
      </p:pic>
      <p:pic>
        <p:nvPicPr>
          <p:cNvPr id="27" name="Media devices with Network graphic"/>
          <p:cNvPicPr>
            <a:picLocks noChangeAspect="1"/>
          </p:cNvPicPr>
          <p:nvPr>
            <p:custDataLst>
              <p:tags r:id="rId3"/>
            </p:custDataLst>
          </p:nvPr>
        </p:nvPicPr>
        <p:blipFill>
          <a:blip r:embed="rId10">
            <a:extLst/>
          </a:blip>
          <a:stretch>
            <a:fillRect/>
          </a:stretch>
        </p:blipFill>
        <p:spPr>
          <a:xfrm>
            <a:off x="7368802" y="3103014"/>
            <a:ext cx="3367060" cy="1717200"/>
          </a:xfrm>
          <a:prstGeom prst="rect">
            <a:avLst/>
          </a:prstGeom>
          <a:ln>
            <a:noFill/>
          </a:ln>
          <a:effectLst>
            <a:outerShdw blurRad="292100" dist="139700" dir="2700000" algn="tl" rotWithShape="0">
              <a:srgbClr val="333333">
                <a:alpha val="65000"/>
              </a:srgbClr>
            </a:outerShdw>
          </a:effectLst>
        </p:spPr>
      </p:pic>
      <p:sp>
        <p:nvSpPr>
          <p:cNvPr id="28" name="Rechteck 7"/>
          <p:cNvSpPr>
            <a:spLocks noGrp="1" noRot="1" noEditPoints="1" noAdjustHandles="1" noChangeArrowheads="1" noChangeShapeType="1"/>
          </p:cNvSpPr>
          <p:nvPr>
            <p:custDataLst>
              <p:tags r:id="rId4"/>
            </p:custDataLst>
          </p:nvPr>
        </p:nvSpPr>
        <p:spPr>
          <a:xfrm>
            <a:off x="1487488" y="2060848"/>
            <a:ext cx="3672408" cy="2880320"/>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de-DE" sz="1600" b="0" i="0" u="none" baseline="0" dirty="0">
              <a:solidFill>
                <a:srgbClr val="000000"/>
              </a:solidFill>
              <a:latin typeface="Segoe UI Light" panose="020B0502040204020203" pitchFamily="34" charset="0"/>
              <a:cs typeface="Segoe UI Light" panose="020B0502040204020203" pitchFamily="34" charset="0"/>
            </a:endParaRPr>
          </a:p>
        </p:txBody>
      </p:sp>
      <p:sp>
        <p:nvSpPr>
          <p:cNvPr id="29" name="Rechteck 16"/>
          <p:cNvSpPr/>
          <p:nvPr/>
        </p:nvSpPr>
        <p:spPr bwMode="gray">
          <a:xfrm>
            <a:off x="523874" y="1202969"/>
            <a:ext cx="11666535" cy="1900045"/>
          </a:xfrm>
          <a:prstGeom prst="rect">
            <a:avLst/>
          </a:prstGeom>
          <a:noFill/>
          <a:ln>
            <a:noFill/>
          </a:ln>
          <a:effectLst>
            <a:outerShdw blurRad="76200" sy="23000" kx="-1200000" algn="b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6688" lvl="1" indent="-1436688">
              <a:buNone/>
            </a:pPr>
            <a:r>
              <a:rPr lang="en-US" sz="2400" dirty="0" smtClean="0">
                <a:solidFill>
                  <a:schemeClr val="bg1"/>
                </a:solidFill>
              </a:rPr>
              <a:t>Wat is your biggest lever in achieving a learning culture?  </a:t>
            </a:r>
            <a:endParaRPr lang="en-US" sz="2400" dirty="0">
              <a:solidFill>
                <a:schemeClr val="bg1"/>
              </a:solidFill>
            </a:endParaRPr>
          </a:p>
          <a:p>
            <a:pPr marL="1163638" indent="-1620838"/>
            <a:r>
              <a:rPr lang="en-US" sz="2400" dirty="0" smtClean="0">
                <a:solidFill>
                  <a:schemeClr val="bg1"/>
                </a:solidFill>
              </a:rPr>
              <a:t>What do your employees say about your culture,  in particular your learning culture</a:t>
            </a:r>
            <a:r>
              <a:rPr lang="en-US" sz="2400" dirty="0" smtClean="0">
                <a:solidFill>
                  <a:schemeClr val="bg1"/>
                </a:solidFill>
              </a:rPr>
              <a:t>?</a:t>
            </a:r>
            <a:endParaRPr lang="en-US" sz="2400" dirty="0">
              <a:solidFill>
                <a:schemeClr val="bg1"/>
              </a:solidFill>
            </a:endParaRPr>
          </a:p>
          <a:p>
            <a:pPr marL="1620838" lvl="1" indent="-1620838"/>
            <a:r>
              <a:rPr lang="en-US" sz="2400" dirty="0">
                <a:solidFill>
                  <a:schemeClr val="bg1"/>
                </a:solidFill>
              </a:rPr>
              <a:t>Do you know the skills that are necessary for </a:t>
            </a:r>
            <a:r>
              <a:rPr lang="en-US" sz="2400" dirty="0" smtClean="0">
                <a:solidFill>
                  <a:schemeClr val="bg1"/>
                </a:solidFill>
              </a:rPr>
              <a:t>future business success? </a:t>
            </a:r>
            <a:endParaRPr lang="en-US" sz="2400" dirty="0">
              <a:solidFill>
                <a:schemeClr val="bg1"/>
              </a:solidFill>
            </a:endParaRPr>
          </a:p>
        </p:txBody>
      </p:sp>
    </p:spTree>
    <p:extLst>
      <p:ext uri="{BB962C8B-B14F-4D97-AF65-F5344CB8AC3E}">
        <p14:creationId xmlns:p14="http://schemas.microsoft.com/office/powerpoint/2010/main" val="146040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 Bayer 16:9 Template /// September 2018</a:t>
            </a:r>
            <a:endParaRPr lang="en-US" dirty="0"/>
          </a:p>
        </p:txBody>
      </p:sp>
      <p:sp>
        <p:nvSpPr>
          <p:cNvPr id="4" name="Slide Number Placeholder 3"/>
          <p:cNvSpPr>
            <a:spLocks noGrp="1"/>
          </p:cNvSpPr>
          <p:nvPr>
            <p:ph type="sldNum" sz="quarter" idx="12"/>
          </p:nvPr>
        </p:nvSpPr>
        <p:spPr/>
        <p:txBody>
          <a:bodyPr/>
          <a:lstStyle/>
          <a:p>
            <a:fld id="{EEAD9179-7A6B-4268-BEB2-F3B8EB06115B}" type="slidenum">
              <a:rPr lang="en-US" smtClean="0"/>
              <a:pPr/>
              <a:t>11</a:t>
            </a:fld>
            <a:endParaRPr lang="en-US" dirty="0"/>
          </a:p>
        </p:txBody>
      </p:sp>
      <p:sp>
        <p:nvSpPr>
          <p:cNvPr id="5" name="Title 4"/>
          <p:cNvSpPr>
            <a:spLocks noGrp="1"/>
          </p:cNvSpPr>
          <p:nvPr>
            <p:ph type="ctrTitle"/>
          </p:nvPr>
        </p:nvSpPr>
        <p:spPr/>
        <p:txBody>
          <a:bodyPr/>
          <a:lstStyle/>
          <a:p>
            <a:r>
              <a:rPr lang="en-US" dirty="0"/>
              <a:t>Thank you!</a:t>
            </a:r>
            <a:br>
              <a:rPr lang="en-US" dirty="0"/>
            </a:br>
            <a:r>
              <a:rPr lang="en-US" dirty="0"/>
              <a:t>    </a:t>
            </a:r>
            <a:endParaRPr lang="en-US" dirty="0">
              <a:solidFill>
                <a:schemeClr val="bg1"/>
              </a:solidFill>
            </a:endParaRPr>
          </a:p>
        </p:txBody>
      </p:sp>
      <p:sp>
        <p:nvSpPr>
          <p:cNvPr id="7" name="Picture Placeholder 6"/>
          <p:cNvSpPr>
            <a:spLocks noGrp="1"/>
          </p:cNvSpPr>
          <p:nvPr>
            <p:ph type="pic" sz="quarter" idx="14"/>
          </p:nvPr>
        </p:nvSpPr>
        <p:spPr/>
      </p:sp>
      <p:pic>
        <p:nvPicPr>
          <p:cNvPr id="8" name="Picture 2" descr="C:\Users\GIKGV\Desktop\Fotos Storyline\Man_wearing_vr_glasses.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050757" y="-133350"/>
            <a:ext cx="7928920" cy="7010400"/>
          </a:xfrm>
          <a:prstGeom prst="trapezoid">
            <a:avLst/>
          </a:prstGeom>
          <a:noFill/>
          <a:extLst>
            <a:ext uri="{909E8E84-426E-40DD-AFC4-6F175D3DCCD1}">
              <a14:hiddenFill xmlns:a14="http://schemas.microsoft.com/office/drawing/2010/main">
                <a:solidFill>
                  <a:srgbClr val="FFFFFF"/>
                </a:solidFill>
              </a14:hiddenFill>
            </a:ext>
          </a:extLst>
        </p:spPr>
      </p:pic>
      <p:sp>
        <p:nvSpPr>
          <p:cNvPr id="9" name="Text Placeholder 5"/>
          <p:cNvSpPr>
            <a:spLocks noGrp="1"/>
          </p:cNvSpPr>
          <p:nvPr>
            <p:ph type="body" sz="quarter" idx="13"/>
          </p:nvPr>
        </p:nvSpPr>
        <p:spPr>
          <a:xfrm>
            <a:off x="1342894" y="4272936"/>
            <a:ext cx="2915519" cy="1080000"/>
          </a:xfrm>
        </p:spPr>
        <p:txBody>
          <a:bodyPr/>
          <a:lstStyle/>
          <a:p>
            <a:r>
              <a:rPr lang="de-DE" dirty="0" smtClean="0"/>
              <a:t>Vera Gramkow</a:t>
            </a:r>
            <a:r>
              <a:rPr lang="de-DE" dirty="0"/>
              <a:t/>
            </a:r>
            <a:br>
              <a:rPr lang="de-DE" dirty="0"/>
            </a:br>
            <a:r>
              <a:rPr lang="de-DE" sz="1600" dirty="0" smtClean="0">
                <a:solidFill>
                  <a:schemeClr val="tx2"/>
                </a:solidFill>
              </a:rPr>
              <a:t>Global Head of Talent &amp; Performance Development n</a:t>
            </a:r>
            <a:r>
              <a:rPr lang="de-DE" sz="1600" dirty="0">
                <a:solidFill>
                  <a:schemeClr val="tx2"/>
                </a:solidFill>
              </a:rPr>
              <a:t/>
            </a:r>
            <a:br>
              <a:rPr lang="de-DE" sz="1600" dirty="0">
                <a:solidFill>
                  <a:schemeClr val="tx2"/>
                </a:solidFill>
              </a:rPr>
            </a:br>
            <a:r>
              <a:rPr lang="en-US" sz="1600" dirty="0"/>
              <a:t>Twitter: </a:t>
            </a:r>
            <a:r>
              <a:rPr lang="en-US" sz="1600" dirty="0" smtClean="0"/>
              <a:t>@</a:t>
            </a:r>
            <a:r>
              <a:rPr lang="en-US" sz="1600" dirty="0" err="1" smtClean="0"/>
              <a:t>GramkowV</a:t>
            </a:r>
            <a:endParaRPr lang="en-US" sz="1600" dirty="0"/>
          </a:p>
          <a:p>
            <a:r>
              <a:rPr lang="de-DE" sz="1600" dirty="0"/>
              <a:t> </a:t>
            </a:r>
          </a:p>
        </p:txBody>
      </p:sp>
    </p:spTree>
    <p:extLst>
      <p:ext uri="{BB962C8B-B14F-4D97-AF65-F5344CB8AC3E}">
        <p14:creationId xmlns:p14="http://schemas.microsoft.com/office/powerpoint/2010/main" val="126762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59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4"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dirty="0">
              <a:solidFill>
                <a:srgbClr val="FFFFFF"/>
              </a:solidFill>
              <a:sym typeface="Arial"/>
            </a:endParaRPr>
          </a:p>
        </p:txBody>
      </p:sp>
      <p:sp>
        <p:nvSpPr>
          <p:cNvPr id="2" name="Footer Placeholder 1"/>
          <p:cNvSpPr>
            <a:spLocks noGrp="1"/>
          </p:cNvSpPr>
          <p:nvPr>
            <p:ph type="ftr" sz="quarter" idx="11"/>
          </p:nvPr>
        </p:nvSpPr>
        <p:spPr/>
        <p:txBody>
          <a:bodyPr/>
          <a:lstStyle/>
          <a:p>
            <a:r>
              <a:rPr lang="en-US" dirty="0"/>
              <a:t>/// Advancing Digital  at Bayer /// Data as an Asset Convention ///  September 2019</a:t>
            </a:r>
          </a:p>
        </p:txBody>
      </p:sp>
      <p:sp>
        <p:nvSpPr>
          <p:cNvPr id="105" name="Slide Number Placeholder 2"/>
          <p:cNvSpPr>
            <a:spLocks noGrp="1"/>
          </p:cNvSpPr>
          <p:nvPr>
            <p:ph type="sldNum" sz="quarter" idx="12"/>
          </p:nvPr>
        </p:nvSpPr>
        <p:spPr/>
        <p:txBody>
          <a:bodyPr/>
          <a:lstStyle/>
          <a:p>
            <a:fld id="{EEAD9179-7A6B-4268-BEB2-F3B8EB06115B}" type="slidenum">
              <a:rPr lang="en-US" smtClean="0">
                <a:solidFill>
                  <a:srgbClr val="FFFFFF"/>
                </a:solidFill>
              </a:rPr>
              <a:pPr/>
              <a:t>12</a:t>
            </a:fld>
            <a:endParaRPr lang="en-US" dirty="0">
              <a:solidFill>
                <a:srgbClr val="FFFFFF"/>
              </a:solidFill>
            </a:endParaRPr>
          </a:p>
        </p:txBody>
      </p:sp>
      <p:sp>
        <p:nvSpPr>
          <p:cNvPr id="140" name="Titel 6"/>
          <p:cNvSpPr>
            <a:spLocks noGrp="1"/>
          </p:cNvSpPr>
          <p:nvPr>
            <p:ph type="title"/>
          </p:nvPr>
        </p:nvSpPr>
        <p:spPr/>
        <p:txBody>
          <a:bodyPr/>
          <a:lstStyle/>
          <a:p>
            <a:r>
              <a:rPr lang="en-US" dirty="0"/>
              <a:t>Forward-Looking Statements</a:t>
            </a:r>
          </a:p>
        </p:txBody>
      </p:sp>
      <p:sp>
        <p:nvSpPr>
          <p:cNvPr id="102" name="Inhaltsplatzhalter 12"/>
          <p:cNvSpPr txBox="1">
            <a:spLocks/>
          </p:cNvSpPr>
          <p:nvPr/>
        </p:nvSpPr>
        <p:spPr bwMode="gray">
          <a:xfrm>
            <a:off x="981820" y="1732751"/>
            <a:ext cx="10798461" cy="4751999"/>
          </a:xfrm>
          <a:prstGeom prst="rect">
            <a:avLst/>
          </a:prstGeom>
        </p:spPr>
        <p:txBody>
          <a:bodyPr vert="horz" lIns="0" tIns="0" rIns="0" bIns="0" rtlCol="0">
            <a:noAutofit/>
          </a:bodyPr>
          <a:lstStyle>
            <a:lvl1pPr marL="0" indent="0" algn="l" defTabSz="914385" rtl="0" eaLnBrk="1" latinLnBrk="0" hangingPunct="1">
              <a:spcBef>
                <a:spcPts val="1200"/>
              </a:spcBef>
              <a:spcAft>
                <a:spcPts val="600"/>
              </a:spcAft>
              <a:buFont typeface="Arial" panose="020B0604020202020204" pitchFamily="34" charset="0"/>
              <a:buNone/>
              <a:defRPr sz="1800" kern="1200">
                <a:solidFill>
                  <a:schemeClr val="bg1"/>
                </a:solidFill>
                <a:latin typeface="+mn-lt"/>
                <a:ea typeface="+mn-ea"/>
                <a:cs typeface="+mn-cs"/>
              </a:defRPr>
            </a:lvl1pPr>
            <a:lvl2pPr marL="269995" indent="-269995" algn="l" defTabSz="914385" rtl="0" eaLnBrk="1" latinLnBrk="0" hangingPunct="1">
              <a:spcBef>
                <a:spcPts val="300"/>
              </a:spcBef>
              <a:spcAft>
                <a:spcPts val="600"/>
              </a:spcAft>
              <a:buFontTx/>
              <a:buBlip>
                <a:blip r:embed="rId8"/>
              </a:buBlip>
              <a:defRPr sz="1800" kern="1200">
                <a:solidFill>
                  <a:schemeClr val="bg1"/>
                </a:solidFill>
                <a:latin typeface="+mn-lt"/>
                <a:ea typeface="+mn-ea"/>
                <a:cs typeface="+mn-cs"/>
              </a:defRPr>
            </a:lvl2pPr>
            <a:lvl3pPr marL="539990" indent="-269995" algn="l" defTabSz="914385" rtl="0" eaLnBrk="1" latinLnBrk="0" hangingPunct="1">
              <a:spcBef>
                <a:spcPts val="300"/>
              </a:spcBef>
              <a:spcAft>
                <a:spcPts val="600"/>
              </a:spcAft>
              <a:buFontTx/>
              <a:buBlip>
                <a:blip r:embed="rId9"/>
              </a:buBlip>
              <a:defRPr sz="1800" kern="1200">
                <a:solidFill>
                  <a:schemeClr val="bg1"/>
                </a:solidFill>
                <a:latin typeface="+mn-lt"/>
                <a:ea typeface="+mn-ea"/>
                <a:cs typeface="+mn-cs"/>
              </a:defRPr>
            </a:lvl3pPr>
            <a:lvl4pPr marL="809985" indent="-269995" algn="l" defTabSz="914385" rtl="0" eaLnBrk="1" latinLnBrk="0" hangingPunct="1">
              <a:spcBef>
                <a:spcPts val="300"/>
              </a:spcBef>
              <a:spcAft>
                <a:spcPts val="600"/>
              </a:spcAft>
              <a:buFontTx/>
              <a:buBlip>
                <a:blip r:embed="rId10"/>
              </a:buBlip>
              <a:defRPr sz="1800" kern="1200">
                <a:solidFill>
                  <a:schemeClr val="bg1"/>
                </a:solidFill>
                <a:latin typeface="+mn-lt"/>
                <a:ea typeface="+mn-ea"/>
                <a:cs typeface="+mn-cs"/>
              </a:defRPr>
            </a:lvl4pPr>
            <a:lvl5pPr marL="1079980" indent="-269995" algn="l" defTabSz="914385" rtl="0" eaLnBrk="1" latinLnBrk="0" hangingPunct="1">
              <a:spcBef>
                <a:spcPts val="300"/>
              </a:spcBef>
              <a:spcAft>
                <a:spcPts val="600"/>
              </a:spcAft>
              <a:buFontTx/>
              <a:buBlip>
                <a:blip r:embed="rId11"/>
              </a:buBlip>
              <a:defRPr sz="1800" kern="1200">
                <a:solidFill>
                  <a:schemeClr val="bg1"/>
                </a:solidFill>
                <a:latin typeface="+mn-lt"/>
                <a:ea typeface="+mn-ea"/>
                <a:cs typeface="+mn-cs"/>
              </a:defRPr>
            </a:lvl5pPr>
            <a:lvl6pPr marL="1079980" indent="-269995" algn="l" defTabSz="914385" rtl="0" eaLnBrk="1" latinLnBrk="0" hangingPunct="1">
              <a:spcBef>
                <a:spcPts val="300"/>
              </a:spcBef>
              <a:spcAft>
                <a:spcPts val="600"/>
              </a:spcAft>
              <a:buFontTx/>
              <a:buBlip>
                <a:blip r:embed="rId11"/>
              </a:buBlip>
              <a:defRPr sz="1800" kern="1200">
                <a:solidFill>
                  <a:schemeClr val="tx1"/>
                </a:solidFill>
                <a:latin typeface="+mn-lt"/>
                <a:ea typeface="+mn-ea"/>
                <a:cs typeface="+mn-cs"/>
              </a:defRPr>
            </a:lvl6pPr>
            <a:lvl7pPr marL="1079980" indent="-269995" algn="l" defTabSz="914385" rtl="0" eaLnBrk="1" latinLnBrk="0" hangingPunct="1">
              <a:spcBef>
                <a:spcPts val="300"/>
              </a:spcBef>
              <a:spcAft>
                <a:spcPts val="600"/>
              </a:spcAft>
              <a:buFontTx/>
              <a:buBlip>
                <a:blip r:embed="rId11"/>
              </a:buBlip>
              <a:defRPr sz="1800" kern="1200">
                <a:solidFill>
                  <a:schemeClr val="tx1"/>
                </a:solidFill>
                <a:latin typeface="+mn-lt"/>
                <a:ea typeface="+mn-ea"/>
                <a:cs typeface="+mn-cs"/>
              </a:defRPr>
            </a:lvl7pPr>
            <a:lvl8pPr marL="1079980" indent="-269995" algn="l" defTabSz="914385" rtl="0" eaLnBrk="1" latinLnBrk="0" hangingPunct="1">
              <a:spcBef>
                <a:spcPts val="300"/>
              </a:spcBef>
              <a:spcAft>
                <a:spcPts val="600"/>
              </a:spcAft>
              <a:buFontTx/>
              <a:buBlip>
                <a:blip r:embed="rId11"/>
              </a:buBlip>
              <a:defRPr sz="1800" kern="1200">
                <a:solidFill>
                  <a:schemeClr val="tx1"/>
                </a:solidFill>
                <a:latin typeface="+mn-lt"/>
                <a:ea typeface="+mn-ea"/>
                <a:cs typeface="+mn-cs"/>
              </a:defRPr>
            </a:lvl8pPr>
            <a:lvl9pPr marL="1079980" indent="-269995" algn="l" defTabSz="914385" rtl="0" eaLnBrk="1" latinLnBrk="0" hangingPunct="1">
              <a:spcBef>
                <a:spcPts val="300"/>
              </a:spcBef>
              <a:spcAft>
                <a:spcPts val="600"/>
              </a:spcAft>
              <a:buFontTx/>
              <a:buBlip>
                <a:blip r:embed="rId11"/>
              </a:buBlip>
              <a:defRPr sz="1800" kern="1200">
                <a:solidFill>
                  <a:schemeClr val="tx1"/>
                </a:solidFill>
                <a:latin typeface="+mn-lt"/>
                <a:ea typeface="+mn-ea"/>
                <a:cs typeface="+mn-cs"/>
              </a:defRPr>
            </a:lvl9pPr>
          </a:lstStyle>
          <a:p>
            <a:r>
              <a:rPr lang="en-US" dirty="0"/>
              <a:t>This presentation may contain forward-looking statements based on current assumptions and forecasts made by Bayer management. </a:t>
            </a:r>
          </a:p>
          <a:p>
            <a:r>
              <a:rPr lang="en-US" dirty="0"/>
              <a:t>Various known and unknown risks, uncertainties and other factors could lead to material differences between the actual future results, financial situation, development or performance of the company and the estimates given here. These factors include those discussed in Bayer’s public reports which are available on the Bayer website at http://www.bayer.com/. </a:t>
            </a:r>
          </a:p>
          <a:p>
            <a:r>
              <a:rPr lang="en-US" dirty="0"/>
              <a:t>The company assumes no liability whatsoever to update these forward-looking statements or to conform them to future events or developments.</a:t>
            </a:r>
          </a:p>
          <a:p>
            <a:endParaRPr lang="en-US" dirty="0"/>
          </a:p>
        </p:txBody>
      </p:sp>
    </p:spTree>
    <p:extLst>
      <p:ext uri="{BB962C8B-B14F-4D97-AF65-F5344CB8AC3E}">
        <p14:creationId xmlns:p14="http://schemas.microsoft.com/office/powerpoint/2010/main" val="175759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a:solidFill>
                  <a:srgbClr val="FFFFFF"/>
                </a:solidFill>
              </a:rPr>
              <a:t>/// Advancing Digital  at Bayer /// Data as an Asset Convention ///  September 2019</a:t>
            </a:r>
          </a:p>
        </p:txBody>
      </p:sp>
      <p:sp>
        <p:nvSpPr>
          <p:cNvPr id="3" name="Slide Number Placeholder 2"/>
          <p:cNvSpPr>
            <a:spLocks noGrp="1"/>
          </p:cNvSpPr>
          <p:nvPr>
            <p:ph type="sldNum" sz="quarter" idx="12"/>
          </p:nvPr>
        </p:nvSpPr>
        <p:spPr/>
        <p:txBody>
          <a:bodyPr/>
          <a:lstStyle/>
          <a:p>
            <a:fld id="{EEAD9179-7A6B-4268-BEB2-F3B8EB06115B}" type="slidenum">
              <a:rPr lang="en-US" smtClean="0">
                <a:solidFill>
                  <a:srgbClr val="00BCFF"/>
                </a:solidFill>
              </a:rPr>
              <a:pPr/>
              <a:t>2</a:t>
            </a:fld>
            <a:endParaRPr lang="en-US">
              <a:solidFill>
                <a:srgbClr val="00BCFF"/>
              </a:solidFill>
            </a:endParaRPr>
          </a:p>
        </p:txBody>
      </p:sp>
      <p:grpSp>
        <p:nvGrpSpPr>
          <p:cNvPr id="102" name="Gruppieren 112">
            <a:extLst>
              <a:ext uri="{FF2B5EF4-FFF2-40B4-BE49-F238E27FC236}">
                <a16:creationId xmlns:a16="http://schemas.microsoft.com/office/drawing/2014/main" xmlns="" id="{C97F3BEA-248C-4C0B-9392-0F023AEF3E55}"/>
              </a:ext>
            </a:extLst>
          </p:cNvPr>
          <p:cNvGrpSpPr/>
          <p:nvPr/>
        </p:nvGrpSpPr>
        <p:grpSpPr>
          <a:xfrm>
            <a:off x="-796272" y="1736725"/>
            <a:ext cx="1710184" cy="494014"/>
            <a:chOff x="43709" y="2206626"/>
            <a:chExt cx="1061889" cy="276225"/>
          </a:xfrm>
        </p:grpSpPr>
        <p:cxnSp>
          <p:nvCxnSpPr>
            <p:cNvPr id="103" name="Gerade Verbindung 113">
              <a:extLst>
                <a:ext uri="{FF2B5EF4-FFF2-40B4-BE49-F238E27FC236}">
                  <a16:creationId xmlns:a16="http://schemas.microsoft.com/office/drawing/2014/main" xmlns="" id="{E390FCBE-343B-4D29-8484-977A370B42BF}"/>
                </a:ext>
              </a:extLst>
            </p:cNvPr>
            <p:cNvCxnSpPr/>
            <p:nvPr/>
          </p:nvCxnSpPr>
          <p:spPr bwMode="gray">
            <a:xfrm rot="900000" flipV="1">
              <a:off x="43709"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14">
              <a:extLst>
                <a:ext uri="{FF2B5EF4-FFF2-40B4-BE49-F238E27FC236}">
                  <a16:creationId xmlns:a16="http://schemas.microsoft.com/office/drawing/2014/main" xmlns="" id="{F95F3B62-DEF8-4D50-B6C6-227ED2D4453A}"/>
                </a:ext>
              </a:extLst>
            </p:cNvPr>
            <p:cNvCxnSpPr/>
            <p:nvPr/>
          </p:nvCxnSpPr>
          <p:spPr bwMode="gray">
            <a:xfrm rot="900000" flipV="1">
              <a:off x="86185"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5" name="Gerade Verbindung 115">
              <a:extLst>
                <a:ext uri="{FF2B5EF4-FFF2-40B4-BE49-F238E27FC236}">
                  <a16:creationId xmlns:a16="http://schemas.microsoft.com/office/drawing/2014/main" xmlns="" id="{54367628-56CE-435C-A599-E37C512A4DE8}"/>
                </a:ext>
              </a:extLst>
            </p:cNvPr>
            <p:cNvCxnSpPr/>
            <p:nvPr/>
          </p:nvCxnSpPr>
          <p:spPr bwMode="gray">
            <a:xfrm rot="900000" flipV="1">
              <a:off x="128660"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16">
              <a:extLst>
                <a:ext uri="{FF2B5EF4-FFF2-40B4-BE49-F238E27FC236}">
                  <a16:creationId xmlns:a16="http://schemas.microsoft.com/office/drawing/2014/main" xmlns="" id="{B199AB33-7FC7-42FE-94E7-4CF20EB37E78}"/>
                </a:ext>
              </a:extLst>
            </p:cNvPr>
            <p:cNvCxnSpPr/>
            <p:nvPr/>
          </p:nvCxnSpPr>
          <p:spPr bwMode="gray">
            <a:xfrm rot="900000" flipV="1">
              <a:off x="171136"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17">
              <a:extLst>
                <a:ext uri="{FF2B5EF4-FFF2-40B4-BE49-F238E27FC236}">
                  <a16:creationId xmlns:a16="http://schemas.microsoft.com/office/drawing/2014/main" xmlns="" id="{A5EEA574-D9EC-4E31-B7E7-018586F506FE}"/>
                </a:ext>
              </a:extLst>
            </p:cNvPr>
            <p:cNvCxnSpPr/>
            <p:nvPr/>
          </p:nvCxnSpPr>
          <p:spPr bwMode="gray">
            <a:xfrm rot="900000" flipV="1">
              <a:off x="213611"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Gerade Verbindung 118">
              <a:extLst>
                <a:ext uri="{FF2B5EF4-FFF2-40B4-BE49-F238E27FC236}">
                  <a16:creationId xmlns:a16="http://schemas.microsoft.com/office/drawing/2014/main" xmlns="" id="{011D948D-FE2B-487E-A9FC-AB9960B2423D}"/>
                </a:ext>
              </a:extLst>
            </p:cNvPr>
            <p:cNvCxnSpPr/>
            <p:nvPr/>
          </p:nvCxnSpPr>
          <p:spPr bwMode="gray">
            <a:xfrm rot="900000" flipV="1">
              <a:off x="256087"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19">
              <a:extLst>
                <a:ext uri="{FF2B5EF4-FFF2-40B4-BE49-F238E27FC236}">
                  <a16:creationId xmlns:a16="http://schemas.microsoft.com/office/drawing/2014/main" xmlns="" id="{E1C48055-AA41-4EAC-A547-E967FF9F466B}"/>
                </a:ext>
              </a:extLst>
            </p:cNvPr>
            <p:cNvCxnSpPr/>
            <p:nvPr/>
          </p:nvCxnSpPr>
          <p:spPr bwMode="gray">
            <a:xfrm rot="900000" flipV="1">
              <a:off x="298562"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20">
              <a:extLst>
                <a:ext uri="{FF2B5EF4-FFF2-40B4-BE49-F238E27FC236}">
                  <a16:creationId xmlns:a16="http://schemas.microsoft.com/office/drawing/2014/main" xmlns="" id="{C0980127-B121-41BA-8A9C-7B6B00EA85C1}"/>
                </a:ext>
              </a:extLst>
            </p:cNvPr>
            <p:cNvCxnSpPr/>
            <p:nvPr/>
          </p:nvCxnSpPr>
          <p:spPr bwMode="gray">
            <a:xfrm rot="900000" flipV="1">
              <a:off x="341038"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Gerade Verbindung 121">
              <a:extLst>
                <a:ext uri="{FF2B5EF4-FFF2-40B4-BE49-F238E27FC236}">
                  <a16:creationId xmlns:a16="http://schemas.microsoft.com/office/drawing/2014/main" xmlns="" id="{69638848-25C9-44DF-B19F-4FD0ACDC23C6}"/>
                </a:ext>
              </a:extLst>
            </p:cNvPr>
            <p:cNvCxnSpPr/>
            <p:nvPr/>
          </p:nvCxnSpPr>
          <p:spPr bwMode="gray">
            <a:xfrm rot="900000" flipV="1">
              <a:off x="383513"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22">
              <a:extLst>
                <a:ext uri="{FF2B5EF4-FFF2-40B4-BE49-F238E27FC236}">
                  <a16:creationId xmlns:a16="http://schemas.microsoft.com/office/drawing/2014/main" xmlns="" id="{6C3536C1-A9DE-4662-97FC-E9C0A4F9C212}"/>
                </a:ext>
              </a:extLst>
            </p:cNvPr>
            <p:cNvCxnSpPr/>
            <p:nvPr/>
          </p:nvCxnSpPr>
          <p:spPr bwMode="gray">
            <a:xfrm rot="900000" flipV="1">
              <a:off x="425989"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23">
              <a:extLst>
                <a:ext uri="{FF2B5EF4-FFF2-40B4-BE49-F238E27FC236}">
                  <a16:creationId xmlns:a16="http://schemas.microsoft.com/office/drawing/2014/main" xmlns="" id="{B21A21EC-066B-47D7-B3C4-15ADA7D3CF5D}"/>
                </a:ext>
              </a:extLst>
            </p:cNvPr>
            <p:cNvCxnSpPr/>
            <p:nvPr/>
          </p:nvCxnSpPr>
          <p:spPr bwMode="gray">
            <a:xfrm rot="900000" flipV="1">
              <a:off x="468465"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Gerade Verbindung 124">
              <a:extLst>
                <a:ext uri="{FF2B5EF4-FFF2-40B4-BE49-F238E27FC236}">
                  <a16:creationId xmlns:a16="http://schemas.microsoft.com/office/drawing/2014/main" xmlns="" id="{AA7DF273-C152-47F1-9820-1B08669D1DF0}"/>
                </a:ext>
              </a:extLst>
            </p:cNvPr>
            <p:cNvCxnSpPr/>
            <p:nvPr/>
          </p:nvCxnSpPr>
          <p:spPr bwMode="gray">
            <a:xfrm rot="900000" flipV="1">
              <a:off x="510940"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25">
              <a:extLst>
                <a:ext uri="{FF2B5EF4-FFF2-40B4-BE49-F238E27FC236}">
                  <a16:creationId xmlns:a16="http://schemas.microsoft.com/office/drawing/2014/main" xmlns="" id="{2ACC360C-F833-43AC-A654-761ED3F2D8AE}"/>
                </a:ext>
              </a:extLst>
            </p:cNvPr>
            <p:cNvCxnSpPr/>
            <p:nvPr/>
          </p:nvCxnSpPr>
          <p:spPr bwMode="gray">
            <a:xfrm rot="900000" flipV="1">
              <a:off x="553416"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6" name="Gerade Verbindung 126">
              <a:extLst>
                <a:ext uri="{FF2B5EF4-FFF2-40B4-BE49-F238E27FC236}">
                  <a16:creationId xmlns:a16="http://schemas.microsoft.com/office/drawing/2014/main" xmlns="" id="{94F3462B-BFCB-4E5D-8BDF-F69692F5386B}"/>
                </a:ext>
              </a:extLst>
            </p:cNvPr>
            <p:cNvCxnSpPr/>
            <p:nvPr/>
          </p:nvCxnSpPr>
          <p:spPr bwMode="gray">
            <a:xfrm rot="900000" flipV="1">
              <a:off x="595891"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27">
              <a:extLst>
                <a:ext uri="{FF2B5EF4-FFF2-40B4-BE49-F238E27FC236}">
                  <a16:creationId xmlns:a16="http://schemas.microsoft.com/office/drawing/2014/main" xmlns="" id="{C72D42BB-88A8-4F79-80C9-9DA05FA5B631}"/>
                </a:ext>
              </a:extLst>
            </p:cNvPr>
            <p:cNvCxnSpPr/>
            <p:nvPr/>
          </p:nvCxnSpPr>
          <p:spPr bwMode="gray">
            <a:xfrm rot="900000" flipV="1">
              <a:off x="638367"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28">
              <a:extLst>
                <a:ext uri="{FF2B5EF4-FFF2-40B4-BE49-F238E27FC236}">
                  <a16:creationId xmlns:a16="http://schemas.microsoft.com/office/drawing/2014/main" xmlns="" id="{24360320-5818-4C4B-9C1D-8E79628F9141}"/>
                </a:ext>
              </a:extLst>
            </p:cNvPr>
            <p:cNvCxnSpPr/>
            <p:nvPr/>
          </p:nvCxnSpPr>
          <p:spPr bwMode="gray">
            <a:xfrm rot="900000" flipV="1">
              <a:off x="680842"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29">
              <a:extLst>
                <a:ext uri="{FF2B5EF4-FFF2-40B4-BE49-F238E27FC236}">
                  <a16:creationId xmlns:a16="http://schemas.microsoft.com/office/drawing/2014/main" xmlns="" id="{8AE60A79-587C-457F-8843-09E471FF7E38}"/>
                </a:ext>
              </a:extLst>
            </p:cNvPr>
            <p:cNvCxnSpPr/>
            <p:nvPr/>
          </p:nvCxnSpPr>
          <p:spPr bwMode="gray">
            <a:xfrm rot="900000" flipV="1">
              <a:off x="723318"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0" name="Gerade Verbindung 130">
              <a:extLst>
                <a:ext uri="{FF2B5EF4-FFF2-40B4-BE49-F238E27FC236}">
                  <a16:creationId xmlns:a16="http://schemas.microsoft.com/office/drawing/2014/main" xmlns="" id="{84DCC5A0-444D-4A21-BEA8-4068DD6B6C1B}"/>
                </a:ext>
              </a:extLst>
            </p:cNvPr>
            <p:cNvCxnSpPr/>
            <p:nvPr/>
          </p:nvCxnSpPr>
          <p:spPr bwMode="gray">
            <a:xfrm rot="900000" flipV="1">
              <a:off x="765793"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Gerade Verbindung 131">
              <a:extLst>
                <a:ext uri="{FF2B5EF4-FFF2-40B4-BE49-F238E27FC236}">
                  <a16:creationId xmlns:a16="http://schemas.microsoft.com/office/drawing/2014/main" xmlns="" id="{9DB727E3-80AB-4C2C-9624-45752A325E95}"/>
                </a:ext>
              </a:extLst>
            </p:cNvPr>
            <p:cNvCxnSpPr/>
            <p:nvPr/>
          </p:nvCxnSpPr>
          <p:spPr bwMode="gray">
            <a:xfrm rot="900000" flipV="1">
              <a:off x="808269"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2" name="Gerade Verbindung 132">
              <a:extLst>
                <a:ext uri="{FF2B5EF4-FFF2-40B4-BE49-F238E27FC236}">
                  <a16:creationId xmlns:a16="http://schemas.microsoft.com/office/drawing/2014/main" xmlns="" id="{1089F205-5A44-48A9-8833-8FD56F61C5CF}"/>
                </a:ext>
              </a:extLst>
            </p:cNvPr>
            <p:cNvCxnSpPr/>
            <p:nvPr/>
          </p:nvCxnSpPr>
          <p:spPr bwMode="gray">
            <a:xfrm rot="900000" flipV="1">
              <a:off x="850744"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3" name="Gerade Verbindung 133">
              <a:extLst>
                <a:ext uri="{FF2B5EF4-FFF2-40B4-BE49-F238E27FC236}">
                  <a16:creationId xmlns:a16="http://schemas.microsoft.com/office/drawing/2014/main" xmlns="" id="{7A08CBC9-12FC-4B14-8E27-4699D8E7505F}"/>
                </a:ext>
              </a:extLst>
            </p:cNvPr>
            <p:cNvCxnSpPr/>
            <p:nvPr/>
          </p:nvCxnSpPr>
          <p:spPr bwMode="gray">
            <a:xfrm rot="900000" flipV="1">
              <a:off x="893220"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Gerade Verbindung 134">
              <a:extLst>
                <a:ext uri="{FF2B5EF4-FFF2-40B4-BE49-F238E27FC236}">
                  <a16:creationId xmlns:a16="http://schemas.microsoft.com/office/drawing/2014/main" xmlns="" id="{4B18FD94-76F4-4EC1-A5DB-5AE5570B6B1F}"/>
                </a:ext>
              </a:extLst>
            </p:cNvPr>
            <p:cNvCxnSpPr/>
            <p:nvPr/>
          </p:nvCxnSpPr>
          <p:spPr bwMode="gray">
            <a:xfrm rot="900000" flipV="1">
              <a:off x="935696"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5" name="Gerade Verbindung 135">
              <a:extLst>
                <a:ext uri="{FF2B5EF4-FFF2-40B4-BE49-F238E27FC236}">
                  <a16:creationId xmlns:a16="http://schemas.microsoft.com/office/drawing/2014/main" xmlns="" id="{2F829F38-0CE6-451D-BC4E-2786CF3F038F}"/>
                </a:ext>
              </a:extLst>
            </p:cNvPr>
            <p:cNvCxnSpPr/>
            <p:nvPr/>
          </p:nvCxnSpPr>
          <p:spPr bwMode="gray">
            <a:xfrm rot="900000" flipV="1">
              <a:off x="978171"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6" name="Gerade Verbindung 136">
              <a:extLst>
                <a:ext uri="{FF2B5EF4-FFF2-40B4-BE49-F238E27FC236}">
                  <a16:creationId xmlns:a16="http://schemas.microsoft.com/office/drawing/2014/main" xmlns="" id="{4ECB5369-98DB-45AF-99A5-2FA673071E2E}"/>
                </a:ext>
              </a:extLst>
            </p:cNvPr>
            <p:cNvCxnSpPr/>
            <p:nvPr/>
          </p:nvCxnSpPr>
          <p:spPr bwMode="gray">
            <a:xfrm rot="900000" flipV="1">
              <a:off x="1020647"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7" name="Gerade Verbindung 137">
              <a:extLst>
                <a:ext uri="{FF2B5EF4-FFF2-40B4-BE49-F238E27FC236}">
                  <a16:creationId xmlns:a16="http://schemas.microsoft.com/office/drawing/2014/main" xmlns="" id="{D43D1143-16EB-4BB7-8700-00A613BEF5BB}"/>
                </a:ext>
              </a:extLst>
            </p:cNvPr>
            <p:cNvCxnSpPr/>
            <p:nvPr/>
          </p:nvCxnSpPr>
          <p:spPr bwMode="gray">
            <a:xfrm rot="900000" flipV="1">
              <a:off x="1063122"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8" name="Gerade Verbindung 138">
              <a:extLst>
                <a:ext uri="{FF2B5EF4-FFF2-40B4-BE49-F238E27FC236}">
                  <a16:creationId xmlns:a16="http://schemas.microsoft.com/office/drawing/2014/main" xmlns="" id="{45C68610-FC84-4514-9081-F2835B583D81}"/>
                </a:ext>
              </a:extLst>
            </p:cNvPr>
            <p:cNvCxnSpPr/>
            <p:nvPr/>
          </p:nvCxnSpPr>
          <p:spPr bwMode="gray">
            <a:xfrm rot="900000" flipV="1">
              <a:off x="1105598" y="2206626"/>
              <a:ext cx="0" cy="27622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9" name="Textfeld 71">
            <a:extLst>
              <a:ext uri="{FF2B5EF4-FFF2-40B4-BE49-F238E27FC236}">
                <a16:creationId xmlns:a16="http://schemas.microsoft.com/office/drawing/2014/main" xmlns="" id="{641C5F2F-9181-43E0-95ED-9D65A8A8506A}"/>
              </a:ext>
            </a:extLst>
          </p:cNvPr>
          <p:cNvSpPr txBox="1"/>
          <p:nvPr/>
        </p:nvSpPr>
        <p:spPr bwMode="gray">
          <a:xfrm>
            <a:off x="7268308" y="1703708"/>
            <a:ext cx="4416274" cy="492443"/>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Lst>
        </p:spPr>
        <p:txBody>
          <a:bodyPr vert="horz" wrap="none" lIns="0" tIns="0" rIns="0" bIns="0" rtlCol="0" anchor="t" anchorCtr="0">
            <a:spAutoFit/>
          </a:bodyPr>
          <a:lstStyle/>
          <a:p>
            <a:pPr algn="r" defTabSz="1219226">
              <a:spcBef>
                <a:spcPct val="40000"/>
              </a:spcBef>
              <a:spcAft>
                <a:spcPct val="0"/>
              </a:spcAft>
            </a:pPr>
            <a:r>
              <a:rPr lang="de-DE" sz="3200" b="1" i="1">
                <a:solidFill>
                  <a:srgbClr val="89D329"/>
                </a:solidFill>
              </a:rPr>
              <a:t>New Business Models </a:t>
            </a:r>
          </a:p>
        </p:txBody>
      </p:sp>
      <p:sp>
        <p:nvSpPr>
          <p:cNvPr id="130" name="Textfeld 72">
            <a:extLst>
              <a:ext uri="{FF2B5EF4-FFF2-40B4-BE49-F238E27FC236}">
                <a16:creationId xmlns:a16="http://schemas.microsoft.com/office/drawing/2014/main" xmlns="" id="{1AC83942-4036-4328-A385-FEAB8D93ED13}"/>
              </a:ext>
            </a:extLst>
          </p:cNvPr>
          <p:cNvSpPr txBox="1"/>
          <p:nvPr/>
        </p:nvSpPr>
        <p:spPr bwMode="gray">
          <a:xfrm>
            <a:off x="7674469" y="4100196"/>
            <a:ext cx="4119718" cy="492443"/>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Lst>
        </p:spPr>
        <p:txBody>
          <a:bodyPr vert="horz" wrap="none" lIns="0" tIns="0" rIns="0" bIns="0" rtlCol="0" anchor="t" anchorCtr="0">
            <a:spAutoFit/>
          </a:bodyPr>
          <a:lstStyle/>
          <a:p>
            <a:pPr algn="r" defTabSz="1219226">
              <a:spcBef>
                <a:spcPct val="40000"/>
              </a:spcBef>
              <a:spcAft>
                <a:spcPct val="0"/>
              </a:spcAft>
            </a:pPr>
            <a:r>
              <a:rPr lang="en-US" sz="3200" b="1" i="1" dirty="0">
                <a:solidFill>
                  <a:srgbClr val="89D329"/>
                </a:solidFill>
              </a:rPr>
              <a:t>Digitizing Operations</a:t>
            </a:r>
          </a:p>
        </p:txBody>
      </p:sp>
      <p:sp>
        <p:nvSpPr>
          <p:cNvPr id="131" name="Textfeld 3"/>
          <p:cNvSpPr txBox="1"/>
          <p:nvPr/>
        </p:nvSpPr>
        <p:spPr bwMode="gray">
          <a:xfrm>
            <a:off x="1707776" y="3110267"/>
            <a:ext cx="1936027" cy="1424386"/>
          </a:xfrm>
          <a:prstGeom prst="rect">
            <a:avLst/>
          </a:prstGeom>
          <a:noFill/>
        </p:spPr>
        <p:txBody>
          <a:bodyPr wrap="square" lIns="0" tIns="0" rIns="0" bIns="0" rtlCol="0">
            <a:noAutofit/>
          </a:bodyPr>
          <a:lstStyle/>
          <a:p>
            <a:pPr marL="0" lvl="1" defTabSz="914218">
              <a:spcBef>
                <a:spcPts val="600"/>
              </a:spcBef>
            </a:pPr>
            <a:r>
              <a:rPr lang="en-US" sz="1600" b="1" i="1" dirty="0">
                <a:solidFill>
                  <a:srgbClr val="FFFFFF"/>
                </a:solidFill>
              </a:rPr>
              <a:t>Improve customer experience, add digital products and services</a:t>
            </a:r>
          </a:p>
        </p:txBody>
      </p:sp>
      <p:pic>
        <p:nvPicPr>
          <p:cNvPr id="133" name="Picture 2" descr="Bildergebnis für digital farming">
            <a:extLst>
              <a:ext uri="{FF2B5EF4-FFF2-40B4-BE49-F238E27FC236}">
                <a16:creationId xmlns:a16="http://schemas.microsoft.com/office/drawing/2014/main" xmlns="" id="{47D4422D-158D-42BA-B6C1-4EE6165CC9F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014621" y="2274775"/>
            <a:ext cx="1209998" cy="1209998"/>
          </a:xfrm>
          <a:prstGeom prst="ellipse">
            <a:avLst/>
          </a:prstGeom>
          <a:noFill/>
          <a:ln w="19050">
            <a:solidFill>
              <a:schemeClr val="accent4"/>
            </a:solidFill>
          </a:ln>
          <a:extLst>
            <a:ext uri="{909E8E84-426E-40DD-AFC4-6F175D3DCCD1}">
              <a14:hiddenFill xmlns:a14="http://schemas.microsoft.com/office/drawing/2010/main">
                <a:solidFill>
                  <a:srgbClr val="FFFFFF"/>
                </a:solidFill>
              </a14:hiddenFill>
            </a:ext>
          </a:extLst>
        </p:spPr>
      </p:pic>
      <p:pic>
        <p:nvPicPr>
          <p:cNvPr id="135" name="Grafik 92">
            <a:extLst>
              <a:ext uri="{FF2B5EF4-FFF2-40B4-BE49-F238E27FC236}">
                <a16:creationId xmlns:a16="http://schemas.microsoft.com/office/drawing/2014/main" xmlns="" id="{A3D022E8-2B3E-43C8-9BB2-C57340EF231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201852" y="2272936"/>
            <a:ext cx="1211839" cy="1211839"/>
          </a:xfrm>
          <a:prstGeom prst="ellipse">
            <a:avLst/>
          </a:prstGeom>
          <a:noFill/>
          <a:ln w="19050">
            <a:solidFill>
              <a:schemeClr val="accent4"/>
            </a:solidFill>
          </a:ln>
        </p:spPr>
      </p:pic>
      <p:sp>
        <p:nvSpPr>
          <p:cNvPr id="137" name="Textfeld 4">
            <a:extLst>
              <a:ext uri="{FF2B5EF4-FFF2-40B4-BE49-F238E27FC236}">
                <a16:creationId xmlns:a16="http://schemas.microsoft.com/office/drawing/2014/main" xmlns="" id="{DD87E53C-2CA8-4E4C-B176-47B9B909ACED}"/>
              </a:ext>
            </a:extLst>
          </p:cNvPr>
          <p:cNvSpPr txBox="1"/>
          <p:nvPr/>
        </p:nvSpPr>
        <p:spPr bwMode="gray">
          <a:xfrm>
            <a:off x="7852352" y="3590347"/>
            <a:ext cx="1534536" cy="326402"/>
          </a:xfrm>
          <a:prstGeom prst="rect">
            <a:avLst/>
          </a:prstGeom>
          <a:noFill/>
        </p:spPr>
        <p:txBody>
          <a:bodyPr wrap="none" lIns="0" tIns="0" rIns="0" bIns="0" rtlCol="0">
            <a:noAutofit/>
          </a:bodyPr>
          <a:lstStyle>
            <a:defPPr>
              <a:defRPr lang="de-DE"/>
            </a:defPPr>
            <a:lvl1pPr marL="180000" indent="-180000">
              <a:buBlip>
                <a:blip r:embed="rId5"/>
              </a:buBlip>
              <a:defRPr sz="1400" i="1">
                <a:solidFill>
                  <a:schemeClr val="bg1"/>
                </a:solidFill>
              </a:defRPr>
            </a:lvl1pPr>
          </a:lstStyle>
          <a:p>
            <a:pPr marL="0" indent="0" defTabSz="914218">
              <a:spcBef>
                <a:spcPts val="600"/>
              </a:spcBef>
              <a:buFontTx/>
              <a:buNone/>
            </a:pPr>
            <a:r>
              <a:rPr lang="de-DE" sz="1600" b="1">
                <a:solidFill>
                  <a:srgbClr val="FFFFFF"/>
                </a:solidFill>
              </a:rPr>
              <a:t>Digital Farming</a:t>
            </a:r>
          </a:p>
        </p:txBody>
      </p:sp>
      <p:sp>
        <p:nvSpPr>
          <p:cNvPr id="138" name="Textfeld 4">
            <a:extLst>
              <a:ext uri="{FF2B5EF4-FFF2-40B4-BE49-F238E27FC236}">
                <a16:creationId xmlns:a16="http://schemas.microsoft.com/office/drawing/2014/main" xmlns="" id="{06709603-4B4B-48F6-BE11-81E6B421A022}"/>
              </a:ext>
            </a:extLst>
          </p:cNvPr>
          <p:cNvSpPr txBox="1"/>
          <p:nvPr/>
        </p:nvSpPr>
        <p:spPr bwMode="gray">
          <a:xfrm>
            <a:off x="10092892" y="3590347"/>
            <a:ext cx="1384906" cy="326402"/>
          </a:xfrm>
          <a:prstGeom prst="rect">
            <a:avLst/>
          </a:prstGeom>
          <a:noFill/>
        </p:spPr>
        <p:txBody>
          <a:bodyPr wrap="none" lIns="0" tIns="0" rIns="0" bIns="0" rtlCol="0">
            <a:noAutofit/>
          </a:bodyPr>
          <a:lstStyle>
            <a:defPPr>
              <a:defRPr lang="de-DE"/>
            </a:defPPr>
            <a:lvl1pPr marL="180000" indent="-180000">
              <a:buBlip>
                <a:blip r:embed="rId5"/>
              </a:buBlip>
              <a:defRPr sz="1400" i="1">
                <a:solidFill>
                  <a:schemeClr val="bg1"/>
                </a:solidFill>
              </a:defRPr>
            </a:lvl1pPr>
          </a:lstStyle>
          <a:p>
            <a:pPr marL="0" indent="0" defTabSz="914218">
              <a:spcBef>
                <a:spcPts val="600"/>
              </a:spcBef>
              <a:buFontTx/>
              <a:buNone/>
            </a:pPr>
            <a:r>
              <a:rPr lang="de-DE" sz="1600" b="1">
                <a:solidFill>
                  <a:srgbClr val="FFFFFF"/>
                </a:solidFill>
              </a:rPr>
              <a:t>Digital Health</a:t>
            </a:r>
          </a:p>
        </p:txBody>
      </p:sp>
      <p:sp>
        <p:nvSpPr>
          <p:cNvPr id="139" name="Textfeld 8">
            <a:extLst>
              <a:ext uri="{FF2B5EF4-FFF2-40B4-BE49-F238E27FC236}">
                <a16:creationId xmlns:a16="http://schemas.microsoft.com/office/drawing/2014/main" xmlns="" id="{69F17DEC-6CEA-4C34-ACCD-5F57DEF5CD4B}"/>
              </a:ext>
            </a:extLst>
          </p:cNvPr>
          <p:cNvSpPr txBox="1"/>
          <p:nvPr/>
        </p:nvSpPr>
        <p:spPr bwMode="gray">
          <a:xfrm>
            <a:off x="10377603" y="5981701"/>
            <a:ext cx="911081" cy="272524"/>
          </a:xfrm>
          <a:prstGeom prst="rect">
            <a:avLst/>
          </a:prstGeom>
          <a:noFill/>
        </p:spPr>
        <p:txBody>
          <a:bodyPr wrap="none" lIns="0" tIns="0" rIns="0" bIns="0" rtlCol="0">
            <a:noAutofit/>
          </a:bodyPr>
          <a:lstStyle>
            <a:defPPr>
              <a:defRPr lang="de-DE"/>
            </a:defPPr>
            <a:lvl1pPr marL="180000" indent="-180000">
              <a:buBlip>
                <a:blip r:embed="rId5"/>
              </a:buBlip>
              <a:defRPr sz="1400" i="1">
                <a:solidFill>
                  <a:schemeClr val="bg1"/>
                </a:solidFill>
              </a:defRPr>
            </a:lvl1pPr>
          </a:lstStyle>
          <a:p>
            <a:pPr marL="0" indent="0" defTabSz="914218">
              <a:spcBef>
                <a:spcPts val="600"/>
              </a:spcBef>
              <a:buFontTx/>
              <a:buNone/>
            </a:pPr>
            <a:r>
              <a:rPr lang="de-DE" sz="1600" b="1" dirty="0">
                <a:solidFill>
                  <a:srgbClr val="FFFFFF"/>
                </a:solidFill>
              </a:rPr>
              <a:t>e.g. </a:t>
            </a:r>
            <a:r>
              <a:rPr lang="de-DE" sz="1600" b="1" dirty="0" err="1">
                <a:solidFill>
                  <a:srgbClr val="FFFFFF"/>
                </a:solidFill>
              </a:rPr>
              <a:t>Artificial</a:t>
            </a:r>
            <a:r>
              <a:rPr lang="de-DE" sz="1600" b="1" dirty="0">
                <a:solidFill>
                  <a:srgbClr val="FFFFFF"/>
                </a:solidFill>
              </a:rPr>
              <a:t/>
            </a:r>
            <a:br>
              <a:rPr lang="de-DE" sz="1600" b="1" dirty="0">
                <a:solidFill>
                  <a:srgbClr val="FFFFFF"/>
                </a:solidFill>
              </a:rPr>
            </a:br>
            <a:r>
              <a:rPr lang="de-DE" sz="1600" b="1" dirty="0" err="1">
                <a:solidFill>
                  <a:srgbClr val="FFFFFF"/>
                </a:solidFill>
              </a:rPr>
              <a:t>intelligence</a:t>
            </a:r>
            <a:r>
              <a:rPr lang="de-DE" sz="1600" b="1" dirty="0">
                <a:solidFill>
                  <a:srgbClr val="FFFFFF"/>
                </a:solidFill>
              </a:rPr>
              <a:t/>
            </a:r>
            <a:br>
              <a:rPr lang="de-DE" sz="1600" b="1" dirty="0">
                <a:solidFill>
                  <a:srgbClr val="FFFFFF"/>
                </a:solidFill>
              </a:rPr>
            </a:br>
            <a:r>
              <a:rPr lang="de-DE" sz="1600" b="1" dirty="0">
                <a:solidFill>
                  <a:srgbClr val="FFFFFF"/>
                </a:solidFill>
              </a:rPr>
              <a:t>&amp; </a:t>
            </a:r>
            <a:r>
              <a:rPr lang="en-US" sz="1600" b="1" dirty="0">
                <a:solidFill>
                  <a:srgbClr val="FFFFFF"/>
                </a:solidFill>
              </a:rPr>
              <a:t>robotics</a:t>
            </a:r>
            <a:r>
              <a:rPr lang="de-DE" sz="1600" b="1" dirty="0">
                <a:solidFill>
                  <a:srgbClr val="FFFFFF"/>
                </a:solidFill>
              </a:rPr>
              <a:t> </a:t>
            </a:r>
            <a:endParaRPr lang="en-US" sz="1600" b="1" dirty="0">
              <a:solidFill>
                <a:srgbClr val="FFFFFF"/>
              </a:solidFill>
            </a:endParaRPr>
          </a:p>
        </p:txBody>
      </p:sp>
      <p:sp>
        <p:nvSpPr>
          <p:cNvPr id="140" name="Textfeld 80">
            <a:extLst>
              <a:ext uri="{FF2B5EF4-FFF2-40B4-BE49-F238E27FC236}">
                <a16:creationId xmlns:a16="http://schemas.microsoft.com/office/drawing/2014/main" xmlns="" id="{6B5C5F19-DF4B-4506-BA32-C3544BEEDC00}"/>
              </a:ext>
            </a:extLst>
          </p:cNvPr>
          <p:cNvSpPr txBox="1"/>
          <p:nvPr/>
        </p:nvSpPr>
        <p:spPr bwMode="gray">
          <a:xfrm>
            <a:off x="1047952" y="1703708"/>
            <a:ext cx="4214295" cy="492443"/>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Lst>
        </p:spPr>
        <p:txBody>
          <a:bodyPr vert="horz" wrap="none" lIns="0" tIns="0" rIns="0" bIns="0" rtlCol="0" anchor="t" anchorCtr="0">
            <a:spAutoFit/>
          </a:bodyPr>
          <a:lstStyle/>
          <a:p>
            <a:pPr algn="r" defTabSz="1219226">
              <a:spcBef>
                <a:spcPct val="40000"/>
              </a:spcBef>
              <a:spcAft>
                <a:spcPct val="0"/>
              </a:spcAft>
            </a:pPr>
            <a:r>
              <a:rPr lang="de-DE" sz="3200" b="1" i="1" dirty="0">
                <a:solidFill>
                  <a:srgbClr val="FF3162"/>
                </a:solidFill>
              </a:rPr>
              <a:t>Customer Experience</a:t>
            </a:r>
          </a:p>
        </p:txBody>
      </p:sp>
      <p:sp>
        <p:nvSpPr>
          <p:cNvPr id="141" name="Textfeld 81">
            <a:extLst>
              <a:ext uri="{FF2B5EF4-FFF2-40B4-BE49-F238E27FC236}">
                <a16:creationId xmlns:a16="http://schemas.microsoft.com/office/drawing/2014/main" xmlns="" id="{FBC15A6C-3AAE-4A81-A9A4-BB039887C3A4}"/>
              </a:ext>
            </a:extLst>
          </p:cNvPr>
          <p:cNvSpPr txBox="1"/>
          <p:nvPr/>
        </p:nvSpPr>
        <p:spPr bwMode="gray">
          <a:xfrm>
            <a:off x="3834261" y="5143534"/>
            <a:ext cx="3996287" cy="430887"/>
          </a:xfrm>
          <a:prstGeom prst="rect">
            <a:avLst/>
          </a:prstGeom>
          <a:noFill/>
          <a:ln w="6350" cap="flat" cmpd="sng" algn="ctr">
            <a:noFill/>
            <a:prstDash val="solid"/>
            <a:round/>
            <a:headEnd type="none" w="med" len="med"/>
            <a:tailEnd type="none" w="med" len="med"/>
          </a:ln>
          <a:extLst>
            <a:ext uri="{909E8E84-426E-40DD-AFC4-6F175D3DCCD1}">
              <a14:hiddenFill xmlns:a14="http://schemas.microsoft.com/office/drawing/2010/main">
                <a:solidFill>
                  <a:schemeClr val="lt1"/>
                </a:solidFill>
              </a14:hiddenFill>
            </a:ext>
          </a:extLst>
        </p:spPr>
        <p:txBody>
          <a:bodyPr vert="horz" wrap="none" lIns="0" tIns="0" rIns="0" bIns="0" rtlCol="0" anchor="t" anchorCtr="0">
            <a:spAutoFit/>
          </a:bodyPr>
          <a:lstStyle/>
          <a:p>
            <a:pPr algn="ctr" defTabSz="1219226">
              <a:spcBef>
                <a:spcPct val="40000"/>
              </a:spcBef>
              <a:spcAft>
                <a:spcPct val="0"/>
              </a:spcAft>
            </a:pPr>
            <a:r>
              <a:rPr lang="en-US" sz="2800" b="1" i="1" dirty="0">
                <a:solidFill>
                  <a:srgbClr val="FFFFFF"/>
                </a:solidFill>
              </a:rPr>
              <a:t>… we need to use data!</a:t>
            </a:r>
            <a:endParaRPr lang="en-US" sz="3200" b="1" i="1" dirty="0">
              <a:solidFill>
                <a:srgbClr val="FFFFFF"/>
              </a:solidFill>
            </a:endParaRPr>
          </a:p>
        </p:txBody>
      </p:sp>
      <p:sp>
        <p:nvSpPr>
          <p:cNvPr id="142" name="Titel 2">
            <a:extLst>
              <a:ext uri="{FF2B5EF4-FFF2-40B4-BE49-F238E27FC236}">
                <a16:creationId xmlns:a16="http://schemas.microsoft.com/office/drawing/2014/main" xmlns="" id="{2CC3F19A-2137-4176-860A-9F60AAF102E9}"/>
              </a:ext>
            </a:extLst>
          </p:cNvPr>
          <p:cNvSpPr txBox="1">
            <a:spLocks/>
          </p:cNvSpPr>
          <p:nvPr/>
        </p:nvSpPr>
        <p:spPr bwMode="gray">
          <a:xfrm>
            <a:off x="974672" y="382152"/>
            <a:ext cx="9913071" cy="989451"/>
          </a:xfrm>
          <a:prstGeom prst="rect">
            <a:avLst/>
          </a:prstGeom>
        </p:spPr>
        <p:txBody>
          <a:bodyPr vert="horz" lIns="0" tIns="0" rIns="0" bIns="0" rtlCol="0" anchor="ctr">
            <a:noAutofit/>
          </a:bodyPr>
          <a:lstStyle>
            <a:lvl1pPr algn="l" defTabSz="1221456"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dirty="0">
                <a:solidFill>
                  <a:srgbClr val="FFFFFF"/>
                </a:solidFill>
              </a:rPr>
              <a:t>To drive Digital &amp; Business Transformation… </a:t>
            </a:r>
          </a:p>
        </p:txBody>
      </p:sp>
      <p:grpSp>
        <p:nvGrpSpPr>
          <p:cNvPr id="146" name="Gruppieren 7">
            <a:extLst>
              <a:ext uri="{FF2B5EF4-FFF2-40B4-BE49-F238E27FC236}">
                <a16:creationId xmlns:a16="http://schemas.microsoft.com/office/drawing/2014/main" xmlns="" id="{9EAE19A7-0C67-4F65-99C5-C066B7290519}"/>
              </a:ext>
            </a:extLst>
          </p:cNvPr>
          <p:cNvGrpSpPr/>
          <p:nvPr/>
        </p:nvGrpSpPr>
        <p:grpSpPr>
          <a:xfrm>
            <a:off x="4202448" y="3699173"/>
            <a:ext cx="268422" cy="268422"/>
            <a:chOff x="4455643" y="3869488"/>
            <a:chExt cx="337852" cy="337852"/>
          </a:xfrm>
        </p:grpSpPr>
        <p:sp>
          <p:nvSpPr>
            <p:cNvPr id="147" name="Ellipse 2">
              <a:extLst>
                <a:ext uri="{FF2B5EF4-FFF2-40B4-BE49-F238E27FC236}">
                  <a16:creationId xmlns:a16="http://schemas.microsoft.com/office/drawing/2014/main" xmlns="" id="{1AAF7BAE-9FB1-447D-879E-F49F9DF374BE}"/>
                </a:ext>
              </a:extLst>
            </p:cNvPr>
            <p:cNvSpPr/>
            <p:nvPr/>
          </p:nvSpPr>
          <p:spPr bwMode="gray">
            <a:xfrm>
              <a:off x="4455643" y="3869488"/>
              <a:ext cx="337852" cy="337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sz="1900">
                <a:solidFill>
                  <a:srgbClr val="FFFFFF"/>
                </a:solidFill>
              </a:endParaRPr>
            </a:p>
          </p:txBody>
        </p:sp>
        <p:sp>
          <p:nvSpPr>
            <p:cNvPr id="148" name="Freeform 32">
              <a:extLst>
                <a:ext uri="{FF2B5EF4-FFF2-40B4-BE49-F238E27FC236}">
                  <a16:creationId xmlns:a16="http://schemas.microsoft.com/office/drawing/2014/main" xmlns="" id="{AA76A605-FAE2-4548-959B-A32111C83604}"/>
                </a:ext>
              </a:extLst>
            </p:cNvPr>
            <p:cNvSpPr>
              <a:spLocks noChangeAspect="1"/>
            </p:cNvSpPr>
            <p:nvPr/>
          </p:nvSpPr>
          <p:spPr bwMode="auto">
            <a:xfrm>
              <a:off x="4579072" y="3957776"/>
              <a:ext cx="90995" cy="161277"/>
            </a:xfrm>
            <a:custGeom>
              <a:avLst/>
              <a:gdLst>
                <a:gd name="T0" fmla="*/ 900 w 908"/>
                <a:gd name="T1" fmla="*/ 787 h 1609"/>
                <a:gd name="T2" fmla="*/ 121 w 908"/>
                <a:gd name="T3" fmla="*/ 8 h 1609"/>
                <a:gd name="T4" fmla="*/ 103 w 908"/>
                <a:gd name="T5" fmla="*/ 0 h 1609"/>
                <a:gd name="T6" fmla="*/ 85 w 908"/>
                <a:gd name="T7" fmla="*/ 8 h 1609"/>
                <a:gd name="T8" fmla="*/ 10 w 908"/>
                <a:gd name="T9" fmla="*/ 84 h 1609"/>
                <a:gd name="T10" fmla="*/ 2 w 908"/>
                <a:gd name="T11" fmla="*/ 102 h 1609"/>
                <a:gd name="T12" fmla="*/ 10 w 908"/>
                <a:gd name="T13" fmla="*/ 119 h 1609"/>
                <a:gd name="T14" fmla="*/ 695 w 908"/>
                <a:gd name="T15" fmla="*/ 805 h 1609"/>
                <a:gd name="T16" fmla="*/ 10 w 908"/>
                <a:gd name="T17" fmla="*/ 1490 h 1609"/>
                <a:gd name="T18" fmla="*/ 10 w 908"/>
                <a:gd name="T19" fmla="*/ 1526 h 1609"/>
                <a:gd name="T20" fmla="*/ 85 w 908"/>
                <a:gd name="T21" fmla="*/ 1602 h 1609"/>
                <a:gd name="T22" fmla="*/ 103 w 908"/>
                <a:gd name="T23" fmla="*/ 1609 h 1609"/>
                <a:gd name="T24" fmla="*/ 121 w 908"/>
                <a:gd name="T25" fmla="*/ 1602 h 1609"/>
                <a:gd name="T26" fmla="*/ 900 w 908"/>
                <a:gd name="T27" fmla="*/ 823 h 1609"/>
                <a:gd name="T28" fmla="*/ 908 w 908"/>
                <a:gd name="T29" fmla="*/ 805 h 1609"/>
                <a:gd name="T30" fmla="*/ 900 w 908"/>
                <a:gd name="T31" fmla="*/ 7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8" h="1609">
                  <a:moveTo>
                    <a:pt x="900" y="787"/>
                  </a:moveTo>
                  <a:cubicBezTo>
                    <a:pt x="121" y="8"/>
                    <a:pt x="121" y="8"/>
                    <a:pt x="121" y="8"/>
                  </a:cubicBezTo>
                  <a:cubicBezTo>
                    <a:pt x="116" y="3"/>
                    <a:pt x="110" y="0"/>
                    <a:pt x="103" y="0"/>
                  </a:cubicBezTo>
                  <a:cubicBezTo>
                    <a:pt x="97" y="0"/>
                    <a:pt x="90" y="3"/>
                    <a:pt x="85" y="8"/>
                  </a:cubicBezTo>
                  <a:cubicBezTo>
                    <a:pt x="10" y="84"/>
                    <a:pt x="10" y="84"/>
                    <a:pt x="10" y="84"/>
                  </a:cubicBezTo>
                  <a:cubicBezTo>
                    <a:pt x="5" y="88"/>
                    <a:pt x="2" y="95"/>
                    <a:pt x="2" y="102"/>
                  </a:cubicBezTo>
                  <a:cubicBezTo>
                    <a:pt x="2" y="108"/>
                    <a:pt x="5" y="115"/>
                    <a:pt x="10" y="119"/>
                  </a:cubicBezTo>
                  <a:cubicBezTo>
                    <a:pt x="695" y="805"/>
                    <a:pt x="695" y="805"/>
                    <a:pt x="695" y="805"/>
                  </a:cubicBezTo>
                  <a:cubicBezTo>
                    <a:pt x="10" y="1490"/>
                    <a:pt x="10" y="1490"/>
                    <a:pt x="10" y="1490"/>
                  </a:cubicBezTo>
                  <a:cubicBezTo>
                    <a:pt x="0" y="1500"/>
                    <a:pt x="0" y="1516"/>
                    <a:pt x="10" y="1526"/>
                  </a:cubicBezTo>
                  <a:cubicBezTo>
                    <a:pt x="85" y="1602"/>
                    <a:pt x="85" y="1602"/>
                    <a:pt x="85" y="1602"/>
                  </a:cubicBezTo>
                  <a:cubicBezTo>
                    <a:pt x="90" y="1607"/>
                    <a:pt x="97" y="1609"/>
                    <a:pt x="103" y="1609"/>
                  </a:cubicBezTo>
                  <a:cubicBezTo>
                    <a:pt x="110" y="1609"/>
                    <a:pt x="116" y="1607"/>
                    <a:pt x="121" y="1602"/>
                  </a:cubicBezTo>
                  <a:cubicBezTo>
                    <a:pt x="900" y="823"/>
                    <a:pt x="900" y="823"/>
                    <a:pt x="900" y="823"/>
                  </a:cubicBezTo>
                  <a:cubicBezTo>
                    <a:pt x="905" y="818"/>
                    <a:pt x="908" y="811"/>
                    <a:pt x="908" y="805"/>
                  </a:cubicBezTo>
                  <a:cubicBezTo>
                    <a:pt x="908" y="798"/>
                    <a:pt x="905" y="792"/>
                    <a:pt x="900" y="7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8"/>
              <a:endParaRPr lang="de-DE" sz="1900">
                <a:solidFill>
                  <a:srgbClr val="000000"/>
                </a:solidFill>
              </a:endParaRPr>
            </a:p>
          </p:txBody>
        </p:sp>
      </p:grpSp>
      <p:sp>
        <p:nvSpPr>
          <p:cNvPr id="149" name="Textfeld 8">
            <a:extLst>
              <a:ext uri="{FF2B5EF4-FFF2-40B4-BE49-F238E27FC236}">
                <a16:creationId xmlns:a16="http://schemas.microsoft.com/office/drawing/2014/main" xmlns="" id="{EB13F615-A0B3-4DCC-8412-52C7C7D786A2}"/>
              </a:ext>
            </a:extLst>
          </p:cNvPr>
          <p:cNvSpPr txBox="1"/>
          <p:nvPr/>
        </p:nvSpPr>
        <p:spPr bwMode="gray">
          <a:xfrm>
            <a:off x="7686849" y="5981703"/>
            <a:ext cx="2388177" cy="780067"/>
          </a:xfrm>
          <a:prstGeom prst="rect">
            <a:avLst/>
          </a:prstGeom>
          <a:noFill/>
        </p:spPr>
        <p:txBody>
          <a:bodyPr wrap="none" lIns="0" tIns="0" rIns="0" bIns="0" rtlCol="0">
            <a:noAutofit/>
          </a:bodyPr>
          <a:lstStyle>
            <a:defPPr>
              <a:defRPr lang="de-DE"/>
            </a:defPPr>
            <a:lvl1pPr marL="180000" indent="-180000">
              <a:buBlip>
                <a:blip r:embed="rId5"/>
              </a:buBlip>
              <a:defRPr sz="1400" i="1">
                <a:solidFill>
                  <a:schemeClr val="bg1"/>
                </a:solidFill>
              </a:defRPr>
            </a:lvl1pPr>
          </a:lstStyle>
          <a:p>
            <a:pPr marL="0" indent="0" defTabSz="914218">
              <a:spcBef>
                <a:spcPts val="600"/>
              </a:spcBef>
              <a:buFontTx/>
              <a:buNone/>
            </a:pPr>
            <a:r>
              <a:rPr lang="en-US" sz="1600" b="1" dirty="0">
                <a:solidFill>
                  <a:srgbClr val="FFFFFF"/>
                </a:solidFill>
              </a:rPr>
              <a:t>e.g. Blockchain enabled</a:t>
            </a:r>
            <a:br>
              <a:rPr lang="en-US" sz="1600" b="1" dirty="0">
                <a:solidFill>
                  <a:srgbClr val="FFFFFF"/>
                </a:solidFill>
              </a:rPr>
            </a:br>
            <a:r>
              <a:rPr lang="en-US" sz="1600" b="1" dirty="0">
                <a:solidFill>
                  <a:srgbClr val="FFFFFF"/>
                </a:solidFill>
              </a:rPr>
              <a:t>traceability </a:t>
            </a:r>
            <a:r>
              <a:rPr lang="en-US" sz="1600" dirty="0">
                <a:solidFill>
                  <a:srgbClr val="FFFFFF"/>
                </a:solidFill>
              </a:rPr>
              <a:t>(food supply, </a:t>
            </a:r>
            <a:br>
              <a:rPr lang="en-US" sz="1600" dirty="0">
                <a:solidFill>
                  <a:srgbClr val="FFFFFF"/>
                </a:solidFill>
              </a:rPr>
            </a:br>
            <a:r>
              <a:rPr lang="en-US" sz="1600" dirty="0">
                <a:solidFill>
                  <a:srgbClr val="FFFFFF"/>
                </a:solidFill>
              </a:rPr>
              <a:t>production processes)</a:t>
            </a:r>
          </a:p>
        </p:txBody>
      </p:sp>
      <p:cxnSp>
        <p:nvCxnSpPr>
          <p:cNvPr id="150" name="Straight Connector 149"/>
          <p:cNvCxnSpPr/>
          <p:nvPr/>
        </p:nvCxnSpPr>
        <p:spPr bwMode="gray">
          <a:xfrm flipH="1" flipV="1">
            <a:off x="6562725" y="4023360"/>
            <a:ext cx="1377315" cy="102108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51" name="Picture 3" descr="C:\Users\james\Desktop\Robot_Goldfuss_1.jpg">
            <a:extLst>
              <a:ext uri="{FF2B5EF4-FFF2-40B4-BE49-F238E27FC236}">
                <a16:creationId xmlns:a16="http://schemas.microsoft.com/office/drawing/2014/main" xmlns="" id="{2D2FD9FF-294D-4362-A852-03D85B3E025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359"/>
          <a:stretch/>
        </p:blipFill>
        <p:spPr bwMode="auto">
          <a:xfrm>
            <a:off x="10202834" y="4703958"/>
            <a:ext cx="1210857" cy="1211839"/>
          </a:xfrm>
          <a:prstGeom prst="ellipse">
            <a:avLst/>
          </a:prstGeom>
          <a:noFill/>
          <a:ln w="19050">
            <a:solidFill>
              <a:schemeClr val="accent4"/>
            </a:solidFill>
          </a:ln>
          <a:extLst>
            <a:ext uri="{909E8E84-426E-40DD-AFC4-6F175D3DCCD1}">
              <a14:hiddenFill xmlns:a14="http://schemas.microsoft.com/office/drawing/2010/main">
                <a:solidFill>
                  <a:srgbClr val="FFFFFF"/>
                </a:solidFill>
              </a14:hiddenFill>
            </a:ext>
          </a:extLst>
        </p:spPr>
      </p:pic>
      <p:pic>
        <p:nvPicPr>
          <p:cNvPr id="152" name="Grafik 133">
            <a:extLst>
              <a:ext uri="{FF2B5EF4-FFF2-40B4-BE49-F238E27FC236}">
                <a16:creationId xmlns:a16="http://schemas.microsoft.com/office/drawing/2014/main" xmlns="" id="{F69C1004-6A0A-4CE6-8908-DCFC3B92125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014622" y="4629144"/>
            <a:ext cx="1211839" cy="1211839"/>
          </a:xfrm>
          <a:prstGeom prst="ellipse">
            <a:avLst/>
          </a:prstGeom>
          <a:noFill/>
          <a:ln w="19050">
            <a:solidFill>
              <a:schemeClr val="accent4"/>
            </a:solidFill>
          </a:ln>
        </p:spPr>
      </p:pic>
      <p:grpSp>
        <p:nvGrpSpPr>
          <p:cNvPr id="153" name="Group 152"/>
          <p:cNvGrpSpPr/>
          <p:nvPr/>
        </p:nvGrpSpPr>
        <p:grpSpPr>
          <a:xfrm>
            <a:off x="7292887" y="4523612"/>
            <a:ext cx="248262" cy="268422"/>
            <a:chOff x="6957607" y="4508372"/>
            <a:chExt cx="248262" cy="268422"/>
          </a:xfrm>
        </p:grpSpPr>
        <p:sp>
          <p:nvSpPr>
            <p:cNvPr id="154" name="Ellipse 86"/>
            <p:cNvSpPr/>
            <p:nvPr/>
          </p:nvSpPr>
          <p:spPr bwMode="gray">
            <a:xfrm rot="12633808" flipV="1">
              <a:off x="6957607" y="4508372"/>
              <a:ext cx="248262" cy="2684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sz="1900">
                <a:solidFill>
                  <a:srgbClr val="FFFFFF"/>
                </a:solidFill>
              </a:endParaRPr>
            </a:p>
          </p:txBody>
        </p:sp>
        <p:sp>
          <p:nvSpPr>
            <p:cNvPr id="155" name="Freeform 32"/>
            <p:cNvSpPr>
              <a:spLocks noChangeAspect="1"/>
            </p:cNvSpPr>
            <p:nvPr/>
          </p:nvSpPr>
          <p:spPr bwMode="auto">
            <a:xfrm rot="12633808" flipV="1">
              <a:off x="7045949" y="4570724"/>
              <a:ext cx="66865" cy="128134"/>
            </a:xfrm>
            <a:custGeom>
              <a:avLst/>
              <a:gdLst>
                <a:gd name="T0" fmla="*/ 900 w 908"/>
                <a:gd name="T1" fmla="*/ 787 h 1609"/>
                <a:gd name="T2" fmla="*/ 121 w 908"/>
                <a:gd name="T3" fmla="*/ 8 h 1609"/>
                <a:gd name="T4" fmla="*/ 103 w 908"/>
                <a:gd name="T5" fmla="*/ 0 h 1609"/>
                <a:gd name="T6" fmla="*/ 85 w 908"/>
                <a:gd name="T7" fmla="*/ 8 h 1609"/>
                <a:gd name="T8" fmla="*/ 10 w 908"/>
                <a:gd name="T9" fmla="*/ 84 h 1609"/>
                <a:gd name="T10" fmla="*/ 2 w 908"/>
                <a:gd name="T11" fmla="*/ 102 h 1609"/>
                <a:gd name="T12" fmla="*/ 10 w 908"/>
                <a:gd name="T13" fmla="*/ 119 h 1609"/>
                <a:gd name="T14" fmla="*/ 695 w 908"/>
                <a:gd name="T15" fmla="*/ 805 h 1609"/>
                <a:gd name="T16" fmla="*/ 10 w 908"/>
                <a:gd name="T17" fmla="*/ 1490 h 1609"/>
                <a:gd name="T18" fmla="*/ 10 w 908"/>
                <a:gd name="T19" fmla="*/ 1526 h 1609"/>
                <a:gd name="T20" fmla="*/ 85 w 908"/>
                <a:gd name="T21" fmla="*/ 1602 h 1609"/>
                <a:gd name="T22" fmla="*/ 103 w 908"/>
                <a:gd name="T23" fmla="*/ 1609 h 1609"/>
                <a:gd name="T24" fmla="*/ 121 w 908"/>
                <a:gd name="T25" fmla="*/ 1602 h 1609"/>
                <a:gd name="T26" fmla="*/ 900 w 908"/>
                <a:gd name="T27" fmla="*/ 823 h 1609"/>
                <a:gd name="T28" fmla="*/ 908 w 908"/>
                <a:gd name="T29" fmla="*/ 805 h 1609"/>
                <a:gd name="T30" fmla="*/ 900 w 908"/>
                <a:gd name="T31" fmla="*/ 7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8" h="1609">
                  <a:moveTo>
                    <a:pt x="900" y="787"/>
                  </a:moveTo>
                  <a:cubicBezTo>
                    <a:pt x="121" y="8"/>
                    <a:pt x="121" y="8"/>
                    <a:pt x="121" y="8"/>
                  </a:cubicBezTo>
                  <a:cubicBezTo>
                    <a:pt x="116" y="3"/>
                    <a:pt x="110" y="0"/>
                    <a:pt x="103" y="0"/>
                  </a:cubicBezTo>
                  <a:cubicBezTo>
                    <a:pt x="97" y="0"/>
                    <a:pt x="90" y="3"/>
                    <a:pt x="85" y="8"/>
                  </a:cubicBezTo>
                  <a:cubicBezTo>
                    <a:pt x="10" y="84"/>
                    <a:pt x="10" y="84"/>
                    <a:pt x="10" y="84"/>
                  </a:cubicBezTo>
                  <a:cubicBezTo>
                    <a:pt x="5" y="88"/>
                    <a:pt x="2" y="95"/>
                    <a:pt x="2" y="102"/>
                  </a:cubicBezTo>
                  <a:cubicBezTo>
                    <a:pt x="2" y="108"/>
                    <a:pt x="5" y="115"/>
                    <a:pt x="10" y="119"/>
                  </a:cubicBezTo>
                  <a:cubicBezTo>
                    <a:pt x="695" y="805"/>
                    <a:pt x="695" y="805"/>
                    <a:pt x="695" y="805"/>
                  </a:cubicBezTo>
                  <a:cubicBezTo>
                    <a:pt x="10" y="1490"/>
                    <a:pt x="10" y="1490"/>
                    <a:pt x="10" y="1490"/>
                  </a:cubicBezTo>
                  <a:cubicBezTo>
                    <a:pt x="0" y="1500"/>
                    <a:pt x="0" y="1516"/>
                    <a:pt x="10" y="1526"/>
                  </a:cubicBezTo>
                  <a:cubicBezTo>
                    <a:pt x="85" y="1602"/>
                    <a:pt x="85" y="1602"/>
                    <a:pt x="85" y="1602"/>
                  </a:cubicBezTo>
                  <a:cubicBezTo>
                    <a:pt x="90" y="1607"/>
                    <a:pt x="97" y="1609"/>
                    <a:pt x="103" y="1609"/>
                  </a:cubicBezTo>
                  <a:cubicBezTo>
                    <a:pt x="110" y="1609"/>
                    <a:pt x="116" y="1607"/>
                    <a:pt x="121" y="1602"/>
                  </a:cubicBezTo>
                  <a:cubicBezTo>
                    <a:pt x="900" y="823"/>
                    <a:pt x="900" y="823"/>
                    <a:pt x="900" y="823"/>
                  </a:cubicBezTo>
                  <a:cubicBezTo>
                    <a:pt x="905" y="818"/>
                    <a:pt x="908" y="811"/>
                    <a:pt x="908" y="805"/>
                  </a:cubicBezTo>
                  <a:cubicBezTo>
                    <a:pt x="908" y="798"/>
                    <a:pt x="905" y="792"/>
                    <a:pt x="900" y="7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8"/>
              <a:endParaRPr lang="de-DE" sz="1900">
                <a:solidFill>
                  <a:srgbClr val="000000"/>
                </a:solidFill>
              </a:endParaRPr>
            </a:p>
          </p:txBody>
        </p:sp>
      </p:grpSp>
      <p:cxnSp>
        <p:nvCxnSpPr>
          <p:cNvPr id="156" name="Straight Connector 155"/>
          <p:cNvCxnSpPr/>
          <p:nvPr/>
        </p:nvCxnSpPr>
        <p:spPr bwMode="gray">
          <a:xfrm flipV="1">
            <a:off x="6562725" y="2912745"/>
            <a:ext cx="1377315" cy="102108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8" name="Gruppieren 60"/>
          <p:cNvGrpSpPr/>
          <p:nvPr/>
        </p:nvGrpSpPr>
        <p:grpSpPr>
          <a:xfrm rot="8451698">
            <a:off x="7343116" y="3131296"/>
            <a:ext cx="277805" cy="268423"/>
            <a:chOff x="4455643" y="3869488"/>
            <a:chExt cx="337852" cy="337852"/>
          </a:xfrm>
        </p:grpSpPr>
        <p:sp>
          <p:nvSpPr>
            <p:cNvPr id="159" name="Ellipse 62"/>
            <p:cNvSpPr/>
            <p:nvPr/>
          </p:nvSpPr>
          <p:spPr bwMode="gray">
            <a:xfrm>
              <a:off x="4455643" y="3869488"/>
              <a:ext cx="337852" cy="33785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de-DE" sz="1900">
                <a:solidFill>
                  <a:srgbClr val="FFFFFF"/>
                </a:solidFill>
              </a:endParaRPr>
            </a:p>
          </p:txBody>
        </p:sp>
        <p:sp>
          <p:nvSpPr>
            <p:cNvPr id="160" name="Freeform 32"/>
            <p:cNvSpPr>
              <a:spLocks noChangeAspect="1"/>
            </p:cNvSpPr>
            <p:nvPr/>
          </p:nvSpPr>
          <p:spPr bwMode="auto">
            <a:xfrm>
              <a:off x="4589132" y="3953914"/>
              <a:ext cx="90995" cy="161277"/>
            </a:xfrm>
            <a:custGeom>
              <a:avLst/>
              <a:gdLst>
                <a:gd name="T0" fmla="*/ 900 w 908"/>
                <a:gd name="T1" fmla="*/ 787 h 1609"/>
                <a:gd name="T2" fmla="*/ 121 w 908"/>
                <a:gd name="T3" fmla="*/ 8 h 1609"/>
                <a:gd name="T4" fmla="*/ 103 w 908"/>
                <a:gd name="T5" fmla="*/ 0 h 1609"/>
                <a:gd name="T6" fmla="*/ 85 w 908"/>
                <a:gd name="T7" fmla="*/ 8 h 1609"/>
                <a:gd name="T8" fmla="*/ 10 w 908"/>
                <a:gd name="T9" fmla="*/ 84 h 1609"/>
                <a:gd name="T10" fmla="*/ 2 w 908"/>
                <a:gd name="T11" fmla="*/ 102 h 1609"/>
                <a:gd name="T12" fmla="*/ 10 w 908"/>
                <a:gd name="T13" fmla="*/ 119 h 1609"/>
                <a:gd name="T14" fmla="*/ 695 w 908"/>
                <a:gd name="T15" fmla="*/ 805 h 1609"/>
                <a:gd name="T16" fmla="*/ 10 w 908"/>
                <a:gd name="T17" fmla="*/ 1490 h 1609"/>
                <a:gd name="T18" fmla="*/ 10 w 908"/>
                <a:gd name="T19" fmla="*/ 1526 h 1609"/>
                <a:gd name="T20" fmla="*/ 85 w 908"/>
                <a:gd name="T21" fmla="*/ 1602 h 1609"/>
                <a:gd name="T22" fmla="*/ 103 w 908"/>
                <a:gd name="T23" fmla="*/ 1609 h 1609"/>
                <a:gd name="T24" fmla="*/ 121 w 908"/>
                <a:gd name="T25" fmla="*/ 1602 h 1609"/>
                <a:gd name="T26" fmla="*/ 900 w 908"/>
                <a:gd name="T27" fmla="*/ 823 h 1609"/>
                <a:gd name="T28" fmla="*/ 908 w 908"/>
                <a:gd name="T29" fmla="*/ 805 h 1609"/>
                <a:gd name="T30" fmla="*/ 900 w 908"/>
                <a:gd name="T31" fmla="*/ 7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8" h="1609">
                  <a:moveTo>
                    <a:pt x="900" y="787"/>
                  </a:moveTo>
                  <a:cubicBezTo>
                    <a:pt x="121" y="8"/>
                    <a:pt x="121" y="8"/>
                    <a:pt x="121" y="8"/>
                  </a:cubicBezTo>
                  <a:cubicBezTo>
                    <a:pt x="116" y="3"/>
                    <a:pt x="110" y="0"/>
                    <a:pt x="103" y="0"/>
                  </a:cubicBezTo>
                  <a:cubicBezTo>
                    <a:pt x="97" y="0"/>
                    <a:pt x="90" y="3"/>
                    <a:pt x="85" y="8"/>
                  </a:cubicBezTo>
                  <a:cubicBezTo>
                    <a:pt x="10" y="84"/>
                    <a:pt x="10" y="84"/>
                    <a:pt x="10" y="84"/>
                  </a:cubicBezTo>
                  <a:cubicBezTo>
                    <a:pt x="5" y="88"/>
                    <a:pt x="2" y="95"/>
                    <a:pt x="2" y="102"/>
                  </a:cubicBezTo>
                  <a:cubicBezTo>
                    <a:pt x="2" y="108"/>
                    <a:pt x="5" y="115"/>
                    <a:pt x="10" y="119"/>
                  </a:cubicBezTo>
                  <a:cubicBezTo>
                    <a:pt x="695" y="805"/>
                    <a:pt x="695" y="805"/>
                    <a:pt x="695" y="805"/>
                  </a:cubicBezTo>
                  <a:cubicBezTo>
                    <a:pt x="10" y="1490"/>
                    <a:pt x="10" y="1490"/>
                    <a:pt x="10" y="1490"/>
                  </a:cubicBezTo>
                  <a:cubicBezTo>
                    <a:pt x="0" y="1500"/>
                    <a:pt x="0" y="1516"/>
                    <a:pt x="10" y="1526"/>
                  </a:cubicBezTo>
                  <a:cubicBezTo>
                    <a:pt x="85" y="1602"/>
                    <a:pt x="85" y="1602"/>
                    <a:pt x="85" y="1602"/>
                  </a:cubicBezTo>
                  <a:cubicBezTo>
                    <a:pt x="90" y="1607"/>
                    <a:pt x="97" y="1609"/>
                    <a:pt x="103" y="1609"/>
                  </a:cubicBezTo>
                  <a:cubicBezTo>
                    <a:pt x="110" y="1609"/>
                    <a:pt x="116" y="1607"/>
                    <a:pt x="121" y="1602"/>
                  </a:cubicBezTo>
                  <a:cubicBezTo>
                    <a:pt x="900" y="823"/>
                    <a:pt x="900" y="823"/>
                    <a:pt x="900" y="823"/>
                  </a:cubicBezTo>
                  <a:cubicBezTo>
                    <a:pt x="905" y="818"/>
                    <a:pt x="908" y="811"/>
                    <a:pt x="908" y="805"/>
                  </a:cubicBezTo>
                  <a:cubicBezTo>
                    <a:pt x="908" y="798"/>
                    <a:pt x="905" y="792"/>
                    <a:pt x="900" y="7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18"/>
              <a:endParaRPr lang="de-DE" sz="1900">
                <a:solidFill>
                  <a:srgbClr val="000000"/>
                </a:solidFill>
              </a:endParaRPr>
            </a:p>
          </p:txBody>
        </p:sp>
      </p:grpSp>
      <p:sp>
        <p:nvSpPr>
          <p:cNvPr id="4" name="AutoShape 2" descr="DNA struct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8"/>
            <a:endParaRPr lang="en-US" sz="1900">
              <a:solidFill>
                <a:srgbClr val="000000"/>
              </a:solidFill>
            </a:endParaRPr>
          </a:p>
        </p:txBody>
      </p:sp>
      <p:pic>
        <p:nvPicPr>
          <p:cNvPr id="65" name="Picture 1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95843" y="3199802"/>
            <a:ext cx="1407615" cy="8755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6" name="Straight Connector 65"/>
          <p:cNvCxnSpPr>
            <a:endCxn id="131" idx="3"/>
          </p:cNvCxnSpPr>
          <p:nvPr/>
        </p:nvCxnSpPr>
        <p:spPr bwMode="gray">
          <a:xfrm flipH="1">
            <a:off x="3643803" y="3821895"/>
            <a:ext cx="1213948" cy="56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0" name="Gruppieren 9"/>
          <p:cNvGrpSpPr>
            <a:grpSpLocks noChangeAspect="1"/>
          </p:cNvGrpSpPr>
          <p:nvPr/>
        </p:nvGrpSpPr>
        <p:grpSpPr>
          <a:xfrm>
            <a:off x="4557282" y="2374767"/>
            <a:ext cx="2694100" cy="2694100"/>
            <a:chOff x="12246953" y="3084076"/>
            <a:chExt cx="3085112" cy="3085112"/>
          </a:xfrm>
        </p:grpSpPr>
        <p:sp>
          <p:nvSpPr>
            <p:cNvPr id="61" name="Flussdiagramm: Verbindungsstelle 5"/>
            <p:cNvSpPr/>
            <p:nvPr/>
          </p:nvSpPr>
          <p:spPr bwMode="gray">
            <a:xfrm>
              <a:off x="12246953" y="3084076"/>
              <a:ext cx="3085112" cy="3085112"/>
            </a:xfrm>
            <a:prstGeom prst="flowChartConnector">
              <a:avLst/>
            </a:prstGeom>
            <a:solidFill>
              <a:srgbClr val="FFFFFF"/>
            </a:solidFill>
            <a:ln w="25400" cap="flat" cmpd="sng" algn="ctr">
              <a:solidFill>
                <a:srgbClr val="624963">
                  <a:lumMod val="40000"/>
                  <a:lumOff val="60000"/>
                </a:srgbClr>
              </a:solidFill>
              <a:prstDash val="solid"/>
            </a:ln>
            <a:effectLst>
              <a:glow rad="228600">
                <a:srgbClr val="443247">
                  <a:satMod val="175000"/>
                  <a:alpha val="40000"/>
                </a:srgbClr>
              </a:glow>
            </a:effectLst>
          </p:spPr>
          <p:txBody>
            <a:bodyPr rtlCol="0" anchor="ctr"/>
            <a:lstStyle/>
            <a:p>
              <a:pPr marL="0" marR="0" lvl="0" indent="0" algn="ctr" defTabSz="913391" eaLnBrk="1" fontAlgn="auto" latinLnBrk="0" hangingPunct="1">
                <a:lnSpc>
                  <a:spcPct val="100000"/>
                </a:lnSpc>
                <a:spcBef>
                  <a:spcPts val="0"/>
                </a:spcBef>
                <a:spcAft>
                  <a:spcPts val="0"/>
                </a:spcAft>
                <a:buClrTx/>
                <a:buSzTx/>
                <a:buFontTx/>
                <a:buNone/>
                <a:tabLst/>
                <a:defRPr/>
              </a:pPr>
              <a:endParaRPr kumimoji="0" lang="de-DE" sz="1900" b="0" i="0" u="none" strike="noStrike" kern="0" cap="none" spc="0" normalizeH="0" baseline="0" noProof="0">
                <a:ln>
                  <a:noFill/>
                </a:ln>
                <a:solidFill>
                  <a:srgbClr val="FFFFFF"/>
                </a:solidFill>
                <a:effectLst/>
                <a:uLnTx/>
                <a:uFillTx/>
                <a:latin typeface="Arial"/>
                <a:cs typeface="Arial"/>
              </a:endParaRPr>
            </a:p>
          </p:txBody>
        </p:sp>
        <p:pic>
          <p:nvPicPr>
            <p:cNvPr id="62" name="Picture 3"/>
            <p:cNvPicPr>
              <a:picLocks noChangeAspect="1" noChangeArrowheads="1"/>
            </p:cNvPicPr>
            <p:nvPr/>
          </p:nvPicPr>
          <p:blipFill>
            <a:blip r:embed="rId9">
              <a:duotone>
                <a:srgbClr val="10384F">
                  <a:shade val="45000"/>
                  <a:satMod val="135000"/>
                </a:srgbClr>
                <a:prstClr val="white"/>
              </a:duotone>
              <a:extLst>
                <a:ext uri="{BEBA8EAE-BF5A-486C-A8C5-ECC9F3942E4B}">
                  <a14:imgProps xmlns:a14="http://schemas.microsoft.com/office/drawing/2010/main">
                    <a14:imgLayer r:embed="rId10">
                      <a14:imgEffect>
                        <a14:sharpenSoften amount="50000"/>
                      </a14:imgEffect>
                      <a14:imgEffect>
                        <a14:colorTemperature colorTemp="7200"/>
                      </a14:imgEffect>
                      <a14:imgEffect>
                        <a14:saturation sat="200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353748" y="3190871"/>
              <a:ext cx="2871522" cy="2871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53926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9">
            <a:extLst>
              <a:ext uri="{FF2B5EF4-FFF2-40B4-BE49-F238E27FC236}">
                <a16:creationId xmlns:a16="http://schemas.microsoft.com/office/drawing/2014/main" xmlns="" id="{475CC97F-6934-47BE-A235-2E86251F1859}"/>
              </a:ext>
            </a:extLst>
          </p:cNvPr>
          <p:cNvSpPr/>
          <p:nvPr/>
        </p:nvSpPr>
        <p:spPr bwMode="gray">
          <a:xfrm>
            <a:off x="1438274" y="-13708"/>
            <a:ext cx="10768239" cy="6884177"/>
          </a:xfrm>
          <a:prstGeom prst="rect">
            <a:avLst/>
          </a:prstGeom>
          <a:solidFill>
            <a:srgbClr val="004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74" name="Rechteck 6">
            <a:extLst>
              <a:ext uri="{FF2B5EF4-FFF2-40B4-BE49-F238E27FC236}">
                <a16:creationId xmlns:a16="http://schemas.microsoft.com/office/drawing/2014/main" xmlns="" id="{9B83B1FB-BDB8-4C4D-B2F0-A78CE31CF8CB}"/>
              </a:ext>
            </a:extLst>
          </p:cNvPr>
          <p:cNvSpPr/>
          <p:nvPr/>
        </p:nvSpPr>
        <p:spPr bwMode="auto">
          <a:xfrm flipH="1" flipV="1">
            <a:off x="-2296" y="-12262"/>
            <a:ext cx="8039518" cy="6882565"/>
          </a:xfrm>
          <a:custGeom>
            <a:avLst/>
            <a:gdLst/>
            <a:ahLst/>
            <a:cxnLst/>
            <a:rect l="l" t="t" r="r" b="b"/>
            <a:pathLst>
              <a:path w="7787099" h="6882565">
                <a:moveTo>
                  <a:pt x="0" y="6882565"/>
                </a:moveTo>
                <a:lnTo>
                  <a:pt x="2976133" y="0"/>
                </a:lnTo>
                <a:lnTo>
                  <a:pt x="7787099" y="0"/>
                </a:lnTo>
                <a:lnTo>
                  <a:pt x="6553534" y="6879896"/>
                </a:lnTo>
                <a:close/>
              </a:path>
            </a:pathLst>
          </a:custGeom>
          <a:gradFill flip="none" rotWithShape="1">
            <a:gsLst>
              <a:gs pos="0">
                <a:srgbClr val="005A7A"/>
              </a:gs>
              <a:gs pos="100000">
                <a:srgbClr val="0090C5">
                  <a:lumMod val="50000"/>
                </a:srgbClr>
              </a:gs>
            </a:gsLst>
            <a:lin ang="162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defTabSz="1221456">
              <a:defRPr/>
            </a:pPr>
            <a:endParaRPr lang="de-DE" sz="2400" kern="0" dirty="0" err="1">
              <a:solidFill>
                <a:srgbClr val="4D4D4D"/>
              </a:solidFill>
            </a:endParaRPr>
          </a:p>
        </p:txBody>
      </p:sp>
      <p:sp>
        <p:nvSpPr>
          <p:cNvPr id="7" name="Titel 6">
            <a:extLst>
              <a:ext uri="{FF2B5EF4-FFF2-40B4-BE49-F238E27FC236}">
                <a16:creationId xmlns:a16="http://schemas.microsoft.com/office/drawing/2014/main" xmlns="" id="{7D5BD909-61B7-4F8E-B2F9-C0CE944E0A79}"/>
              </a:ext>
            </a:extLst>
          </p:cNvPr>
          <p:cNvSpPr>
            <a:spLocks noGrp="1"/>
          </p:cNvSpPr>
          <p:nvPr>
            <p:ph type="title"/>
          </p:nvPr>
        </p:nvSpPr>
        <p:spPr/>
        <p:txBody>
          <a:bodyPr/>
          <a:lstStyle/>
          <a:p>
            <a:r>
              <a:rPr lang="en-US" sz="4400" b="1" dirty="0">
                <a:solidFill>
                  <a:srgbClr val="FFFFFF"/>
                </a:solidFill>
              </a:rPr>
              <a:t>Megatrends </a:t>
            </a:r>
          </a:p>
        </p:txBody>
      </p:sp>
      <p:sp>
        <p:nvSpPr>
          <p:cNvPr id="2" name="Fußzeilenplatzhalter 1">
            <a:extLst>
              <a:ext uri="{FF2B5EF4-FFF2-40B4-BE49-F238E27FC236}">
                <a16:creationId xmlns:a16="http://schemas.microsoft.com/office/drawing/2014/main" xmlns="" id="{EF2F8EE4-4E4D-442C-95B9-B6B4DEB71CA2}"/>
              </a:ext>
            </a:extLst>
          </p:cNvPr>
          <p:cNvSpPr>
            <a:spLocks noGrp="1"/>
          </p:cNvSpPr>
          <p:nvPr>
            <p:ph type="ftr" sz="quarter" idx="16"/>
          </p:nvPr>
        </p:nvSpPr>
        <p:spPr/>
        <p:txBody>
          <a:bodyPr/>
          <a:lstStyle/>
          <a:p>
            <a:r>
              <a:rPr lang="en-US" dirty="0">
                <a:solidFill>
                  <a:srgbClr val="FFFFFF"/>
                </a:solidFill>
              </a:rPr>
              <a:t>/// Advancing Digital  at Bayer /// Data as an Asset Convention ///  September 2019</a:t>
            </a:r>
          </a:p>
        </p:txBody>
      </p:sp>
      <p:sp>
        <p:nvSpPr>
          <p:cNvPr id="3" name="Foliennummernplatzhalter 2">
            <a:extLst>
              <a:ext uri="{FF2B5EF4-FFF2-40B4-BE49-F238E27FC236}">
                <a16:creationId xmlns:a16="http://schemas.microsoft.com/office/drawing/2014/main" xmlns="" id="{8409A87D-B088-447E-80CA-B9AEB32142A0}"/>
              </a:ext>
            </a:extLst>
          </p:cNvPr>
          <p:cNvSpPr>
            <a:spLocks noGrp="1"/>
          </p:cNvSpPr>
          <p:nvPr>
            <p:ph type="sldNum" sz="quarter" idx="17"/>
          </p:nvPr>
        </p:nvSpPr>
        <p:spPr/>
        <p:txBody>
          <a:bodyPr/>
          <a:lstStyle/>
          <a:p>
            <a:fld id="{EEAD9179-7A6B-4268-BEB2-F3B8EB06115B}" type="slidenum">
              <a:rPr lang="en-US" smtClean="0">
                <a:solidFill>
                  <a:srgbClr val="00BCFF"/>
                </a:solidFill>
              </a:rPr>
              <a:pPr/>
              <a:t>3</a:t>
            </a:fld>
            <a:endParaRPr lang="en-US" dirty="0">
              <a:solidFill>
                <a:srgbClr val="00BCFF"/>
              </a:solidFill>
            </a:endParaRPr>
          </a:p>
        </p:txBody>
      </p:sp>
      <p:grpSp>
        <p:nvGrpSpPr>
          <p:cNvPr id="140" name="Gruppieren 139">
            <a:extLst>
              <a:ext uri="{FF2B5EF4-FFF2-40B4-BE49-F238E27FC236}">
                <a16:creationId xmlns:a16="http://schemas.microsoft.com/office/drawing/2014/main" xmlns="" id="{693FF34E-9AFA-46A7-9E57-368571AA9DFA}"/>
              </a:ext>
            </a:extLst>
          </p:cNvPr>
          <p:cNvGrpSpPr/>
          <p:nvPr/>
        </p:nvGrpSpPr>
        <p:grpSpPr>
          <a:xfrm>
            <a:off x="-2151" y="1189995"/>
            <a:ext cx="998538" cy="1546225"/>
            <a:chOff x="-2151" y="1189995"/>
            <a:chExt cx="998538" cy="1546225"/>
          </a:xfrm>
        </p:grpSpPr>
        <p:sp>
          <p:nvSpPr>
            <p:cNvPr id="141" name="Freeform 6">
              <a:extLst>
                <a:ext uri="{FF2B5EF4-FFF2-40B4-BE49-F238E27FC236}">
                  <a16:creationId xmlns:a16="http://schemas.microsoft.com/office/drawing/2014/main" xmlns="" id="{A2BCDCDB-5F91-4B5E-B8B1-E7426BAAE111}"/>
                </a:ext>
              </a:extLst>
            </p:cNvPr>
            <p:cNvSpPr>
              <a:spLocks/>
            </p:cNvSpPr>
            <p:nvPr/>
          </p:nvSpPr>
          <p:spPr bwMode="auto">
            <a:xfrm>
              <a:off x="-2151" y="2610807"/>
              <a:ext cx="788988" cy="125413"/>
            </a:xfrm>
            <a:custGeom>
              <a:avLst/>
              <a:gdLst>
                <a:gd name="T0" fmla="*/ 245 w 494"/>
                <a:gd name="T1" fmla="*/ 70 h 79"/>
                <a:gd name="T2" fmla="*/ 0 w 494"/>
                <a:gd name="T3" fmla="*/ 2 h 79"/>
                <a:gd name="T4" fmla="*/ 0 w 494"/>
                <a:gd name="T5" fmla="*/ 13 h 79"/>
                <a:gd name="T6" fmla="*/ 56 w 494"/>
                <a:gd name="T7" fmla="*/ 41 h 79"/>
                <a:gd name="T8" fmla="*/ 147 w 494"/>
                <a:gd name="T9" fmla="*/ 69 h 79"/>
                <a:gd name="T10" fmla="*/ 245 w 494"/>
                <a:gd name="T11" fmla="*/ 79 h 79"/>
                <a:gd name="T12" fmla="*/ 343 w 494"/>
                <a:gd name="T13" fmla="*/ 69 h 79"/>
                <a:gd name="T14" fmla="*/ 435 w 494"/>
                <a:gd name="T15" fmla="*/ 41 h 79"/>
                <a:gd name="T16" fmla="*/ 492 w 494"/>
                <a:gd name="T17" fmla="*/ 12 h 79"/>
                <a:gd name="T18" fmla="*/ 494 w 494"/>
                <a:gd name="T19" fmla="*/ 0 h 79"/>
                <a:gd name="T20" fmla="*/ 245 w 494"/>
                <a:gd name="T2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9">
                  <a:moveTo>
                    <a:pt x="245" y="70"/>
                  </a:moveTo>
                  <a:cubicBezTo>
                    <a:pt x="156" y="70"/>
                    <a:pt x="72" y="45"/>
                    <a:pt x="0" y="2"/>
                  </a:cubicBezTo>
                  <a:cubicBezTo>
                    <a:pt x="0" y="13"/>
                    <a:pt x="0" y="13"/>
                    <a:pt x="0" y="13"/>
                  </a:cubicBezTo>
                  <a:cubicBezTo>
                    <a:pt x="18" y="24"/>
                    <a:pt x="37" y="33"/>
                    <a:pt x="56" y="41"/>
                  </a:cubicBezTo>
                  <a:cubicBezTo>
                    <a:pt x="85" y="54"/>
                    <a:pt x="116" y="63"/>
                    <a:pt x="147" y="69"/>
                  </a:cubicBezTo>
                  <a:cubicBezTo>
                    <a:pt x="179" y="76"/>
                    <a:pt x="212" y="79"/>
                    <a:pt x="245" y="79"/>
                  </a:cubicBezTo>
                  <a:cubicBezTo>
                    <a:pt x="278" y="79"/>
                    <a:pt x="311" y="76"/>
                    <a:pt x="343" y="69"/>
                  </a:cubicBezTo>
                  <a:cubicBezTo>
                    <a:pt x="375" y="63"/>
                    <a:pt x="405" y="54"/>
                    <a:pt x="435" y="41"/>
                  </a:cubicBezTo>
                  <a:cubicBezTo>
                    <a:pt x="454" y="33"/>
                    <a:pt x="473" y="23"/>
                    <a:pt x="492" y="12"/>
                  </a:cubicBezTo>
                  <a:cubicBezTo>
                    <a:pt x="494" y="0"/>
                    <a:pt x="494" y="0"/>
                    <a:pt x="494" y="0"/>
                  </a:cubicBezTo>
                  <a:cubicBezTo>
                    <a:pt x="421" y="44"/>
                    <a:pt x="336" y="70"/>
                    <a:pt x="245"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2" name="Freeform 7">
              <a:extLst>
                <a:ext uri="{FF2B5EF4-FFF2-40B4-BE49-F238E27FC236}">
                  <a16:creationId xmlns:a16="http://schemas.microsoft.com/office/drawing/2014/main" xmlns="" id="{0F67D967-272A-43C9-A84D-5D3CF66A0D66}"/>
                </a:ext>
              </a:extLst>
            </p:cNvPr>
            <p:cNvSpPr>
              <a:spLocks/>
            </p:cNvSpPr>
            <p:nvPr/>
          </p:nvSpPr>
          <p:spPr bwMode="auto">
            <a:xfrm>
              <a:off x="-2151" y="1189995"/>
              <a:ext cx="998538" cy="311150"/>
            </a:xfrm>
            <a:custGeom>
              <a:avLst/>
              <a:gdLst>
                <a:gd name="T0" fmla="*/ 517 w 626"/>
                <a:gd name="T1" fmla="*/ 83 h 196"/>
                <a:gd name="T2" fmla="*/ 435 w 626"/>
                <a:gd name="T3" fmla="*/ 38 h 196"/>
                <a:gd name="T4" fmla="*/ 343 w 626"/>
                <a:gd name="T5" fmla="*/ 9 h 196"/>
                <a:gd name="T6" fmla="*/ 245 w 626"/>
                <a:gd name="T7" fmla="*/ 0 h 196"/>
                <a:gd name="T8" fmla="*/ 147 w 626"/>
                <a:gd name="T9" fmla="*/ 9 h 196"/>
                <a:gd name="T10" fmla="*/ 56 w 626"/>
                <a:gd name="T11" fmla="*/ 38 h 196"/>
                <a:gd name="T12" fmla="*/ 0 w 626"/>
                <a:gd name="T13" fmla="*/ 66 h 196"/>
                <a:gd name="T14" fmla="*/ 0 w 626"/>
                <a:gd name="T15" fmla="*/ 77 h 196"/>
                <a:gd name="T16" fmla="*/ 245 w 626"/>
                <a:gd name="T17" fmla="*/ 9 h 196"/>
                <a:gd name="T18" fmla="*/ 623 w 626"/>
                <a:gd name="T19" fmla="*/ 196 h 196"/>
                <a:gd name="T20" fmla="*/ 626 w 626"/>
                <a:gd name="T21" fmla="*/ 183 h 196"/>
                <a:gd name="T22" fmla="*/ 589 w 626"/>
                <a:gd name="T23" fmla="*/ 142 h 196"/>
                <a:gd name="T24" fmla="*/ 517 w 626"/>
                <a:gd name="T25" fmla="*/ 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6" h="196">
                  <a:moveTo>
                    <a:pt x="517" y="83"/>
                  </a:moveTo>
                  <a:cubicBezTo>
                    <a:pt x="491" y="65"/>
                    <a:pt x="464" y="50"/>
                    <a:pt x="435" y="38"/>
                  </a:cubicBezTo>
                  <a:cubicBezTo>
                    <a:pt x="405" y="25"/>
                    <a:pt x="375" y="16"/>
                    <a:pt x="343" y="9"/>
                  </a:cubicBezTo>
                  <a:cubicBezTo>
                    <a:pt x="311" y="3"/>
                    <a:pt x="278" y="0"/>
                    <a:pt x="245" y="0"/>
                  </a:cubicBezTo>
                  <a:cubicBezTo>
                    <a:pt x="212" y="0"/>
                    <a:pt x="179" y="3"/>
                    <a:pt x="147" y="9"/>
                  </a:cubicBezTo>
                  <a:cubicBezTo>
                    <a:pt x="116" y="16"/>
                    <a:pt x="85" y="25"/>
                    <a:pt x="56" y="38"/>
                  </a:cubicBezTo>
                  <a:cubicBezTo>
                    <a:pt x="37" y="46"/>
                    <a:pt x="18" y="55"/>
                    <a:pt x="0" y="66"/>
                  </a:cubicBezTo>
                  <a:cubicBezTo>
                    <a:pt x="0" y="77"/>
                    <a:pt x="0" y="77"/>
                    <a:pt x="0" y="77"/>
                  </a:cubicBezTo>
                  <a:cubicBezTo>
                    <a:pt x="72" y="34"/>
                    <a:pt x="156" y="9"/>
                    <a:pt x="245" y="9"/>
                  </a:cubicBezTo>
                  <a:cubicBezTo>
                    <a:pt x="399" y="9"/>
                    <a:pt x="536" y="82"/>
                    <a:pt x="623" y="196"/>
                  </a:cubicBezTo>
                  <a:cubicBezTo>
                    <a:pt x="626" y="183"/>
                    <a:pt x="626" y="183"/>
                    <a:pt x="626" y="183"/>
                  </a:cubicBezTo>
                  <a:cubicBezTo>
                    <a:pt x="614" y="169"/>
                    <a:pt x="602" y="155"/>
                    <a:pt x="589" y="142"/>
                  </a:cubicBezTo>
                  <a:cubicBezTo>
                    <a:pt x="567" y="120"/>
                    <a:pt x="543" y="100"/>
                    <a:pt x="517"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3" name="Freeform 8">
              <a:extLst>
                <a:ext uri="{FF2B5EF4-FFF2-40B4-BE49-F238E27FC236}">
                  <a16:creationId xmlns:a16="http://schemas.microsoft.com/office/drawing/2014/main" xmlns="" id="{F5AAFB50-8DC4-4BD9-965F-9EE40F28132C}"/>
                </a:ext>
              </a:extLst>
            </p:cNvPr>
            <p:cNvSpPr>
              <a:spLocks noEditPoints="1"/>
            </p:cNvSpPr>
            <p:nvPr/>
          </p:nvSpPr>
          <p:spPr bwMode="auto">
            <a:xfrm>
              <a:off x="145487" y="2099632"/>
              <a:ext cx="76200" cy="76200"/>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9 h 48"/>
                <a:gd name="T12" fmla="*/ 9 w 48"/>
                <a:gd name="T13" fmla="*/ 24 h 48"/>
                <a:gd name="T14" fmla="*/ 24 w 48"/>
                <a:gd name="T15" fmla="*/ 10 h 48"/>
                <a:gd name="T16" fmla="*/ 38 w 48"/>
                <a:gd name="T17" fmla="*/ 24 h 48"/>
                <a:gd name="T18" fmla="*/ 24 w 4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8"/>
                    <a:pt x="11" y="48"/>
                    <a:pt x="24" y="48"/>
                  </a:cubicBezTo>
                  <a:cubicBezTo>
                    <a:pt x="37" y="48"/>
                    <a:pt x="48" y="38"/>
                    <a:pt x="48" y="24"/>
                  </a:cubicBezTo>
                  <a:cubicBezTo>
                    <a:pt x="48" y="11"/>
                    <a:pt x="37" y="0"/>
                    <a:pt x="24" y="0"/>
                  </a:cubicBezTo>
                  <a:close/>
                  <a:moveTo>
                    <a:pt x="24" y="39"/>
                  </a:moveTo>
                  <a:cubicBezTo>
                    <a:pt x="16" y="39"/>
                    <a:pt x="9" y="32"/>
                    <a:pt x="9" y="24"/>
                  </a:cubicBezTo>
                  <a:cubicBezTo>
                    <a:pt x="9" y="16"/>
                    <a:pt x="16" y="10"/>
                    <a:pt x="24" y="10"/>
                  </a:cubicBezTo>
                  <a:cubicBezTo>
                    <a:pt x="32" y="10"/>
                    <a:pt x="38" y="16"/>
                    <a:pt x="38" y="24"/>
                  </a:cubicBezTo>
                  <a:cubicBezTo>
                    <a:pt x="38" y="32"/>
                    <a:pt x="32" y="39"/>
                    <a:pt x="24"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4" name="Freeform 9">
              <a:extLst>
                <a:ext uri="{FF2B5EF4-FFF2-40B4-BE49-F238E27FC236}">
                  <a16:creationId xmlns:a16="http://schemas.microsoft.com/office/drawing/2014/main" xmlns="" id="{E30812D8-C8C7-414A-9384-844155C2FFCD}"/>
                </a:ext>
              </a:extLst>
            </p:cNvPr>
            <p:cNvSpPr>
              <a:spLocks noEditPoints="1"/>
            </p:cNvSpPr>
            <p:nvPr/>
          </p:nvSpPr>
          <p:spPr bwMode="auto">
            <a:xfrm>
              <a:off x="648725" y="2167895"/>
              <a:ext cx="130175" cy="128588"/>
            </a:xfrm>
            <a:custGeom>
              <a:avLst/>
              <a:gdLst>
                <a:gd name="T0" fmla="*/ 40 w 81"/>
                <a:gd name="T1" fmla="*/ 0 h 81"/>
                <a:gd name="T2" fmla="*/ 0 w 81"/>
                <a:gd name="T3" fmla="*/ 40 h 81"/>
                <a:gd name="T4" fmla="*/ 40 w 81"/>
                <a:gd name="T5" fmla="*/ 81 h 81"/>
                <a:gd name="T6" fmla="*/ 81 w 81"/>
                <a:gd name="T7" fmla="*/ 40 h 81"/>
                <a:gd name="T8" fmla="*/ 40 w 81"/>
                <a:gd name="T9" fmla="*/ 0 h 81"/>
                <a:gd name="T10" fmla="*/ 40 w 81"/>
                <a:gd name="T11" fmla="*/ 71 h 81"/>
                <a:gd name="T12" fmla="*/ 10 w 81"/>
                <a:gd name="T13" fmla="*/ 40 h 81"/>
                <a:gd name="T14" fmla="*/ 40 w 81"/>
                <a:gd name="T15" fmla="*/ 10 h 81"/>
                <a:gd name="T16" fmla="*/ 71 w 81"/>
                <a:gd name="T17" fmla="*/ 40 h 81"/>
                <a:gd name="T18" fmla="*/ 40 w 81"/>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18" y="0"/>
                    <a:pt x="0" y="18"/>
                    <a:pt x="0" y="40"/>
                  </a:cubicBezTo>
                  <a:cubicBezTo>
                    <a:pt x="0" y="63"/>
                    <a:pt x="18" y="81"/>
                    <a:pt x="40" y="81"/>
                  </a:cubicBezTo>
                  <a:cubicBezTo>
                    <a:pt x="63" y="81"/>
                    <a:pt x="81" y="63"/>
                    <a:pt x="81" y="40"/>
                  </a:cubicBezTo>
                  <a:cubicBezTo>
                    <a:pt x="81" y="18"/>
                    <a:pt x="63" y="0"/>
                    <a:pt x="40" y="0"/>
                  </a:cubicBezTo>
                  <a:close/>
                  <a:moveTo>
                    <a:pt x="40" y="71"/>
                  </a:moveTo>
                  <a:cubicBezTo>
                    <a:pt x="24" y="71"/>
                    <a:pt x="10" y="57"/>
                    <a:pt x="10" y="40"/>
                  </a:cubicBezTo>
                  <a:cubicBezTo>
                    <a:pt x="10" y="24"/>
                    <a:pt x="24" y="10"/>
                    <a:pt x="40" y="10"/>
                  </a:cubicBezTo>
                  <a:cubicBezTo>
                    <a:pt x="57" y="10"/>
                    <a:pt x="71" y="24"/>
                    <a:pt x="71" y="40"/>
                  </a:cubicBezTo>
                  <a:cubicBezTo>
                    <a:pt x="71" y="57"/>
                    <a:pt x="57" y="71"/>
                    <a:pt x="40"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5" name="Freeform 10">
              <a:extLst>
                <a:ext uri="{FF2B5EF4-FFF2-40B4-BE49-F238E27FC236}">
                  <a16:creationId xmlns:a16="http://schemas.microsoft.com/office/drawing/2014/main" xmlns="" id="{62F353F6-DE7E-4360-A7ED-C6A6FE5E4C40}"/>
                </a:ext>
              </a:extLst>
            </p:cNvPr>
            <p:cNvSpPr>
              <a:spLocks noEditPoints="1"/>
            </p:cNvSpPr>
            <p:nvPr/>
          </p:nvSpPr>
          <p:spPr bwMode="auto">
            <a:xfrm>
              <a:off x="613799" y="2132970"/>
              <a:ext cx="200025" cy="198438"/>
            </a:xfrm>
            <a:custGeom>
              <a:avLst/>
              <a:gdLst>
                <a:gd name="T0" fmla="*/ 62 w 125"/>
                <a:gd name="T1" fmla="*/ 0 h 125"/>
                <a:gd name="T2" fmla="*/ 0 w 125"/>
                <a:gd name="T3" fmla="*/ 62 h 125"/>
                <a:gd name="T4" fmla="*/ 62 w 125"/>
                <a:gd name="T5" fmla="*/ 125 h 125"/>
                <a:gd name="T6" fmla="*/ 125 w 125"/>
                <a:gd name="T7" fmla="*/ 62 h 125"/>
                <a:gd name="T8" fmla="*/ 62 w 125"/>
                <a:gd name="T9" fmla="*/ 0 h 125"/>
                <a:gd name="T10" fmla="*/ 62 w 125"/>
                <a:gd name="T11" fmla="*/ 115 h 125"/>
                <a:gd name="T12" fmla="*/ 9 w 125"/>
                <a:gd name="T13" fmla="*/ 62 h 125"/>
                <a:gd name="T14" fmla="*/ 62 w 125"/>
                <a:gd name="T15" fmla="*/ 9 h 125"/>
                <a:gd name="T16" fmla="*/ 115 w 125"/>
                <a:gd name="T17" fmla="*/ 62 h 125"/>
                <a:gd name="T18" fmla="*/ 62 w 125"/>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2" y="0"/>
                  </a:moveTo>
                  <a:cubicBezTo>
                    <a:pt x="28" y="0"/>
                    <a:pt x="0" y="28"/>
                    <a:pt x="0" y="62"/>
                  </a:cubicBezTo>
                  <a:cubicBezTo>
                    <a:pt x="0" y="97"/>
                    <a:pt x="28" y="125"/>
                    <a:pt x="62" y="125"/>
                  </a:cubicBezTo>
                  <a:cubicBezTo>
                    <a:pt x="97" y="125"/>
                    <a:pt x="125" y="97"/>
                    <a:pt x="125" y="62"/>
                  </a:cubicBezTo>
                  <a:cubicBezTo>
                    <a:pt x="125" y="28"/>
                    <a:pt x="97" y="0"/>
                    <a:pt x="62" y="0"/>
                  </a:cubicBezTo>
                  <a:close/>
                  <a:moveTo>
                    <a:pt x="62" y="115"/>
                  </a:moveTo>
                  <a:cubicBezTo>
                    <a:pt x="33" y="115"/>
                    <a:pt x="9" y="92"/>
                    <a:pt x="9" y="62"/>
                  </a:cubicBezTo>
                  <a:cubicBezTo>
                    <a:pt x="9" y="33"/>
                    <a:pt x="33" y="9"/>
                    <a:pt x="62" y="9"/>
                  </a:cubicBezTo>
                  <a:cubicBezTo>
                    <a:pt x="92" y="9"/>
                    <a:pt x="115" y="33"/>
                    <a:pt x="115" y="62"/>
                  </a:cubicBezTo>
                  <a:cubicBezTo>
                    <a:pt x="115" y="92"/>
                    <a:pt x="92" y="115"/>
                    <a:pt x="62" y="1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6" name="Freeform 11">
              <a:extLst>
                <a:ext uri="{FF2B5EF4-FFF2-40B4-BE49-F238E27FC236}">
                  <a16:creationId xmlns:a16="http://schemas.microsoft.com/office/drawing/2014/main" xmlns="" id="{B7D81B13-232F-4D91-ACC9-0E4ED2C1FAC4}"/>
                </a:ext>
              </a:extLst>
            </p:cNvPr>
            <p:cNvSpPr>
              <a:spLocks noEditPoints="1"/>
            </p:cNvSpPr>
            <p:nvPr/>
          </p:nvSpPr>
          <p:spPr bwMode="auto">
            <a:xfrm>
              <a:off x="89924" y="2040895"/>
              <a:ext cx="57150" cy="5556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26 h 35"/>
                <a:gd name="T12" fmla="*/ 10 w 35"/>
                <a:gd name="T13" fmla="*/ 18 h 35"/>
                <a:gd name="T14" fmla="*/ 18 w 35"/>
                <a:gd name="T15" fmla="*/ 9 h 35"/>
                <a:gd name="T16" fmla="*/ 26 w 35"/>
                <a:gd name="T17" fmla="*/ 18 h 35"/>
                <a:gd name="T18" fmla="*/ 18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26"/>
                  </a:moveTo>
                  <a:cubicBezTo>
                    <a:pt x="13" y="26"/>
                    <a:pt x="10" y="22"/>
                    <a:pt x="10" y="18"/>
                  </a:cubicBezTo>
                  <a:cubicBezTo>
                    <a:pt x="10" y="13"/>
                    <a:pt x="13" y="9"/>
                    <a:pt x="18" y="9"/>
                  </a:cubicBezTo>
                  <a:cubicBezTo>
                    <a:pt x="22" y="9"/>
                    <a:pt x="26" y="13"/>
                    <a:pt x="26" y="18"/>
                  </a:cubicBezTo>
                  <a:cubicBezTo>
                    <a:pt x="26" y="22"/>
                    <a:pt x="22" y="26"/>
                    <a:pt x="18"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7" name="Freeform 12">
              <a:extLst>
                <a:ext uri="{FF2B5EF4-FFF2-40B4-BE49-F238E27FC236}">
                  <a16:creationId xmlns:a16="http://schemas.microsoft.com/office/drawing/2014/main" xmlns="" id="{1BE5228B-4E18-4EE5-994D-4A1CB008138C}"/>
                </a:ext>
              </a:extLst>
            </p:cNvPr>
            <p:cNvSpPr>
              <a:spLocks noEditPoints="1"/>
            </p:cNvSpPr>
            <p:nvPr/>
          </p:nvSpPr>
          <p:spPr bwMode="auto">
            <a:xfrm>
              <a:off x="-2151" y="1383670"/>
              <a:ext cx="896938" cy="1174750"/>
            </a:xfrm>
            <a:custGeom>
              <a:avLst/>
              <a:gdLst>
                <a:gd name="T0" fmla="*/ 0 w 562"/>
                <a:gd name="T1" fmla="*/ 481 h 739"/>
                <a:gd name="T2" fmla="*/ 58 w 562"/>
                <a:gd name="T3" fmla="*/ 575 h 739"/>
                <a:gd name="T4" fmla="*/ 138 w 562"/>
                <a:gd name="T5" fmla="*/ 700 h 739"/>
                <a:gd name="T6" fmla="*/ 397 w 562"/>
                <a:gd name="T7" fmla="*/ 601 h 739"/>
                <a:gd name="T8" fmla="*/ 534 w 562"/>
                <a:gd name="T9" fmla="*/ 533 h 739"/>
                <a:gd name="T10" fmla="*/ 526 w 562"/>
                <a:gd name="T11" fmla="*/ 364 h 739"/>
                <a:gd name="T12" fmla="*/ 554 w 562"/>
                <a:gd name="T13" fmla="*/ 298 h 739"/>
                <a:gd name="T14" fmla="*/ 517 w 562"/>
                <a:gd name="T15" fmla="*/ 228 h 739"/>
                <a:gd name="T16" fmla="*/ 245 w 562"/>
                <a:gd name="T17" fmla="*/ 83 h 739"/>
                <a:gd name="T18" fmla="*/ 89 w 562"/>
                <a:gd name="T19" fmla="*/ 105 h 739"/>
                <a:gd name="T20" fmla="*/ 117 w 562"/>
                <a:gd name="T21" fmla="*/ 25 h 739"/>
                <a:gd name="T22" fmla="*/ 83 w 562"/>
                <a:gd name="T23" fmla="*/ 5 h 739"/>
                <a:gd name="T24" fmla="*/ 88 w 562"/>
                <a:gd name="T25" fmla="*/ 42 h 739"/>
                <a:gd name="T26" fmla="*/ 40 w 562"/>
                <a:gd name="T27" fmla="*/ 134 h 739"/>
                <a:gd name="T28" fmla="*/ 0 w 562"/>
                <a:gd name="T29" fmla="*/ 146 h 739"/>
                <a:gd name="T30" fmla="*/ 39 w 562"/>
                <a:gd name="T31" fmla="*/ 144 h 739"/>
                <a:gd name="T32" fmla="*/ 0 w 562"/>
                <a:gd name="T33" fmla="*/ 212 h 739"/>
                <a:gd name="T34" fmla="*/ 0 w 562"/>
                <a:gd name="T35" fmla="*/ 248 h 739"/>
                <a:gd name="T36" fmla="*/ 98 w 562"/>
                <a:gd name="T37" fmla="*/ 180 h 739"/>
                <a:gd name="T38" fmla="*/ 147 w 562"/>
                <a:gd name="T39" fmla="*/ 279 h 739"/>
                <a:gd name="T40" fmla="*/ 177 w 562"/>
                <a:gd name="T41" fmla="*/ 284 h 739"/>
                <a:gd name="T42" fmla="*/ 156 w 562"/>
                <a:gd name="T43" fmla="*/ 246 h 739"/>
                <a:gd name="T44" fmla="*/ 115 w 562"/>
                <a:gd name="T45" fmla="*/ 126 h 739"/>
                <a:gd name="T46" fmla="*/ 484 w 562"/>
                <a:gd name="T47" fmla="*/ 242 h 739"/>
                <a:gd name="T48" fmla="*/ 413 w 562"/>
                <a:gd name="T49" fmla="*/ 298 h 739"/>
                <a:gd name="T50" fmla="*/ 516 w 562"/>
                <a:gd name="T51" fmla="*/ 341 h 739"/>
                <a:gd name="T52" fmla="*/ 448 w 562"/>
                <a:gd name="T53" fmla="*/ 448 h 739"/>
                <a:gd name="T54" fmla="*/ 388 w 562"/>
                <a:gd name="T55" fmla="*/ 594 h 739"/>
                <a:gd name="T56" fmla="*/ 138 w 562"/>
                <a:gd name="T57" fmla="*/ 614 h 739"/>
                <a:gd name="T58" fmla="*/ 128 w 562"/>
                <a:gd name="T59" fmla="*/ 700 h 739"/>
                <a:gd name="T60" fmla="*/ 68 w 562"/>
                <a:gd name="T61" fmla="*/ 565 h 739"/>
                <a:gd name="T62" fmla="*/ 128 w 562"/>
                <a:gd name="T63" fmla="*/ 556 h 739"/>
                <a:gd name="T64" fmla="*/ 128 w 562"/>
                <a:gd name="T65" fmla="*/ 530 h 739"/>
                <a:gd name="T66" fmla="*/ 158 w 562"/>
                <a:gd name="T67" fmla="*/ 256 h 739"/>
                <a:gd name="T68" fmla="*/ 175 w 562"/>
                <a:gd name="T69" fmla="*/ 259 h 739"/>
                <a:gd name="T70" fmla="*/ 155 w 562"/>
                <a:gd name="T71" fmla="*/ 273 h 739"/>
                <a:gd name="T72" fmla="*/ 96 w 562"/>
                <a:gd name="T73" fmla="*/ 10 h 739"/>
                <a:gd name="T74" fmla="*/ 108 w 562"/>
                <a:gd name="T75" fmla="*/ 24 h 739"/>
                <a:gd name="T76" fmla="*/ 84 w 562"/>
                <a:gd name="T77" fmla="*/ 20 h 739"/>
                <a:gd name="T78" fmla="*/ 79 w 562"/>
                <a:gd name="T79" fmla="*/ 114 h 739"/>
                <a:gd name="T80" fmla="*/ 484 w 562"/>
                <a:gd name="T81" fmla="*/ 363 h 739"/>
                <a:gd name="T82" fmla="*/ 451 w 562"/>
                <a:gd name="T83" fmla="*/ 237 h 739"/>
                <a:gd name="T84" fmla="*/ 488 w 562"/>
                <a:gd name="T85" fmla="*/ 253 h 739"/>
                <a:gd name="T86" fmla="*/ 546 w 562"/>
                <a:gd name="T87" fmla="*/ 292 h 739"/>
                <a:gd name="T88" fmla="*/ 448 w 562"/>
                <a:gd name="T89" fmla="*/ 458 h 739"/>
                <a:gd name="T90" fmla="*/ 373 w 562"/>
                <a:gd name="T91" fmla="*/ 53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739">
                  <a:moveTo>
                    <a:pt x="58" y="520"/>
                  </a:moveTo>
                  <a:cubicBezTo>
                    <a:pt x="58" y="561"/>
                    <a:pt x="58" y="561"/>
                    <a:pt x="58" y="561"/>
                  </a:cubicBezTo>
                  <a:cubicBezTo>
                    <a:pt x="34" y="538"/>
                    <a:pt x="14" y="511"/>
                    <a:pt x="0" y="481"/>
                  </a:cubicBezTo>
                  <a:cubicBezTo>
                    <a:pt x="0" y="502"/>
                    <a:pt x="0" y="502"/>
                    <a:pt x="0" y="502"/>
                  </a:cubicBezTo>
                  <a:cubicBezTo>
                    <a:pt x="6" y="513"/>
                    <a:pt x="13" y="523"/>
                    <a:pt x="20" y="533"/>
                  </a:cubicBezTo>
                  <a:cubicBezTo>
                    <a:pt x="32" y="548"/>
                    <a:pt x="44" y="562"/>
                    <a:pt x="58" y="575"/>
                  </a:cubicBezTo>
                  <a:cubicBezTo>
                    <a:pt x="58" y="700"/>
                    <a:pt x="58" y="700"/>
                    <a:pt x="58" y="700"/>
                  </a:cubicBezTo>
                  <a:cubicBezTo>
                    <a:pt x="58" y="722"/>
                    <a:pt x="76" y="739"/>
                    <a:pt x="98" y="739"/>
                  </a:cubicBezTo>
                  <a:cubicBezTo>
                    <a:pt x="120" y="739"/>
                    <a:pt x="138" y="722"/>
                    <a:pt x="138" y="700"/>
                  </a:cubicBezTo>
                  <a:cubicBezTo>
                    <a:pt x="138" y="624"/>
                    <a:pt x="138" y="624"/>
                    <a:pt x="138" y="624"/>
                  </a:cubicBezTo>
                  <a:cubicBezTo>
                    <a:pt x="172" y="638"/>
                    <a:pt x="208" y="646"/>
                    <a:pt x="245" y="646"/>
                  </a:cubicBezTo>
                  <a:cubicBezTo>
                    <a:pt x="299" y="646"/>
                    <a:pt x="352" y="630"/>
                    <a:pt x="397" y="601"/>
                  </a:cubicBezTo>
                  <a:cubicBezTo>
                    <a:pt x="412" y="612"/>
                    <a:pt x="430" y="619"/>
                    <a:pt x="448" y="619"/>
                  </a:cubicBezTo>
                  <a:cubicBezTo>
                    <a:pt x="471" y="619"/>
                    <a:pt x="493" y="610"/>
                    <a:pt x="509" y="594"/>
                  </a:cubicBezTo>
                  <a:cubicBezTo>
                    <a:pt x="525" y="578"/>
                    <a:pt x="534" y="556"/>
                    <a:pt x="534" y="533"/>
                  </a:cubicBezTo>
                  <a:cubicBezTo>
                    <a:pt x="534" y="511"/>
                    <a:pt x="525" y="489"/>
                    <a:pt x="509" y="473"/>
                  </a:cubicBezTo>
                  <a:cubicBezTo>
                    <a:pt x="508" y="472"/>
                    <a:pt x="507" y="471"/>
                    <a:pt x="506" y="470"/>
                  </a:cubicBezTo>
                  <a:cubicBezTo>
                    <a:pt x="519" y="437"/>
                    <a:pt x="526" y="401"/>
                    <a:pt x="526" y="364"/>
                  </a:cubicBezTo>
                  <a:cubicBezTo>
                    <a:pt x="526" y="354"/>
                    <a:pt x="526" y="343"/>
                    <a:pt x="524" y="331"/>
                  </a:cubicBezTo>
                  <a:cubicBezTo>
                    <a:pt x="554" y="298"/>
                    <a:pt x="554" y="298"/>
                    <a:pt x="554" y="298"/>
                  </a:cubicBezTo>
                  <a:cubicBezTo>
                    <a:pt x="554" y="298"/>
                    <a:pt x="554" y="298"/>
                    <a:pt x="554" y="298"/>
                  </a:cubicBezTo>
                  <a:cubicBezTo>
                    <a:pt x="554" y="298"/>
                    <a:pt x="554" y="298"/>
                    <a:pt x="554" y="298"/>
                  </a:cubicBezTo>
                  <a:cubicBezTo>
                    <a:pt x="559" y="290"/>
                    <a:pt x="562" y="281"/>
                    <a:pt x="562" y="272"/>
                  </a:cubicBezTo>
                  <a:cubicBezTo>
                    <a:pt x="562" y="248"/>
                    <a:pt x="542" y="228"/>
                    <a:pt x="517" y="228"/>
                  </a:cubicBezTo>
                  <a:cubicBezTo>
                    <a:pt x="509" y="228"/>
                    <a:pt x="501" y="230"/>
                    <a:pt x="494" y="234"/>
                  </a:cubicBezTo>
                  <a:cubicBezTo>
                    <a:pt x="471" y="190"/>
                    <a:pt x="437" y="153"/>
                    <a:pt x="395" y="126"/>
                  </a:cubicBezTo>
                  <a:cubicBezTo>
                    <a:pt x="350" y="98"/>
                    <a:pt x="298" y="83"/>
                    <a:pt x="245" y="83"/>
                  </a:cubicBezTo>
                  <a:cubicBezTo>
                    <a:pt x="220" y="83"/>
                    <a:pt x="196" y="87"/>
                    <a:pt x="172" y="93"/>
                  </a:cubicBezTo>
                  <a:cubicBezTo>
                    <a:pt x="150" y="99"/>
                    <a:pt x="129" y="107"/>
                    <a:pt x="110" y="118"/>
                  </a:cubicBezTo>
                  <a:cubicBezTo>
                    <a:pt x="104" y="112"/>
                    <a:pt x="97" y="107"/>
                    <a:pt x="89" y="105"/>
                  </a:cubicBezTo>
                  <a:cubicBezTo>
                    <a:pt x="98" y="44"/>
                    <a:pt x="98" y="44"/>
                    <a:pt x="98" y="44"/>
                  </a:cubicBezTo>
                  <a:cubicBezTo>
                    <a:pt x="102" y="44"/>
                    <a:pt x="106" y="42"/>
                    <a:pt x="109" y="40"/>
                  </a:cubicBezTo>
                  <a:cubicBezTo>
                    <a:pt x="114" y="36"/>
                    <a:pt x="117" y="31"/>
                    <a:pt x="117" y="25"/>
                  </a:cubicBezTo>
                  <a:cubicBezTo>
                    <a:pt x="118" y="19"/>
                    <a:pt x="117" y="14"/>
                    <a:pt x="113" y="9"/>
                  </a:cubicBezTo>
                  <a:cubicBezTo>
                    <a:pt x="110" y="4"/>
                    <a:pt x="105" y="1"/>
                    <a:pt x="99" y="0"/>
                  </a:cubicBezTo>
                  <a:cubicBezTo>
                    <a:pt x="93" y="0"/>
                    <a:pt x="87" y="1"/>
                    <a:pt x="83" y="5"/>
                  </a:cubicBezTo>
                  <a:cubicBezTo>
                    <a:pt x="78" y="8"/>
                    <a:pt x="75" y="13"/>
                    <a:pt x="74" y="19"/>
                  </a:cubicBezTo>
                  <a:cubicBezTo>
                    <a:pt x="73" y="25"/>
                    <a:pt x="75" y="31"/>
                    <a:pt x="78" y="35"/>
                  </a:cubicBezTo>
                  <a:cubicBezTo>
                    <a:pt x="81" y="39"/>
                    <a:pt x="84" y="41"/>
                    <a:pt x="88" y="42"/>
                  </a:cubicBezTo>
                  <a:cubicBezTo>
                    <a:pt x="80" y="104"/>
                    <a:pt x="80" y="104"/>
                    <a:pt x="80" y="104"/>
                  </a:cubicBezTo>
                  <a:cubicBezTo>
                    <a:pt x="79" y="104"/>
                    <a:pt x="79" y="104"/>
                    <a:pt x="79" y="104"/>
                  </a:cubicBezTo>
                  <a:cubicBezTo>
                    <a:pt x="60" y="104"/>
                    <a:pt x="45" y="117"/>
                    <a:pt x="40" y="134"/>
                  </a:cubicBezTo>
                  <a:cubicBezTo>
                    <a:pt x="6" y="129"/>
                    <a:pt x="6" y="129"/>
                    <a:pt x="6" y="129"/>
                  </a:cubicBezTo>
                  <a:cubicBezTo>
                    <a:pt x="6" y="124"/>
                    <a:pt x="3" y="119"/>
                    <a:pt x="0" y="116"/>
                  </a:cubicBezTo>
                  <a:cubicBezTo>
                    <a:pt x="0" y="146"/>
                    <a:pt x="0" y="146"/>
                    <a:pt x="0" y="146"/>
                  </a:cubicBezTo>
                  <a:cubicBezTo>
                    <a:pt x="2" y="144"/>
                    <a:pt x="4" y="141"/>
                    <a:pt x="5" y="139"/>
                  </a:cubicBezTo>
                  <a:cubicBezTo>
                    <a:pt x="39" y="143"/>
                    <a:pt x="39" y="143"/>
                    <a:pt x="39" y="143"/>
                  </a:cubicBezTo>
                  <a:cubicBezTo>
                    <a:pt x="39" y="144"/>
                    <a:pt x="39" y="144"/>
                    <a:pt x="39" y="144"/>
                  </a:cubicBezTo>
                  <a:cubicBezTo>
                    <a:pt x="39" y="152"/>
                    <a:pt x="41" y="159"/>
                    <a:pt x="45" y="165"/>
                  </a:cubicBezTo>
                  <a:cubicBezTo>
                    <a:pt x="0" y="200"/>
                    <a:pt x="0" y="200"/>
                    <a:pt x="0" y="200"/>
                  </a:cubicBezTo>
                  <a:cubicBezTo>
                    <a:pt x="0" y="212"/>
                    <a:pt x="0" y="212"/>
                    <a:pt x="0" y="212"/>
                  </a:cubicBezTo>
                  <a:cubicBezTo>
                    <a:pt x="20" y="196"/>
                    <a:pt x="20" y="196"/>
                    <a:pt x="20" y="196"/>
                  </a:cubicBezTo>
                  <a:cubicBezTo>
                    <a:pt x="12" y="206"/>
                    <a:pt x="6" y="216"/>
                    <a:pt x="0" y="227"/>
                  </a:cubicBezTo>
                  <a:cubicBezTo>
                    <a:pt x="0" y="248"/>
                    <a:pt x="0" y="248"/>
                    <a:pt x="0" y="248"/>
                  </a:cubicBezTo>
                  <a:cubicBezTo>
                    <a:pt x="13" y="221"/>
                    <a:pt x="30" y="196"/>
                    <a:pt x="52" y="174"/>
                  </a:cubicBezTo>
                  <a:cubicBezTo>
                    <a:pt x="59" y="180"/>
                    <a:pt x="69" y="184"/>
                    <a:pt x="79" y="184"/>
                  </a:cubicBezTo>
                  <a:cubicBezTo>
                    <a:pt x="86" y="184"/>
                    <a:pt x="92" y="183"/>
                    <a:pt x="98" y="180"/>
                  </a:cubicBezTo>
                  <a:cubicBezTo>
                    <a:pt x="149" y="252"/>
                    <a:pt x="149" y="252"/>
                    <a:pt x="149" y="252"/>
                  </a:cubicBezTo>
                  <a:cubicBezTo>
                    <a:pt x="146" y="255"/>
                    <a:pt x="144" y="258"/>
                    <a:pt x="143" y="263"/>
                  </a:cubicBezTo>
                  <a:cubicBezTo>
                    <a:pt x="142" y="268"/>
                    <a:pt x="143" y="274"/>
                    <a:pt x="147" y="279"/>
                  </a:cubicBezTo>
                  <a:cubicBezTo>
                    <a:pt x="150" y="284"/>
                    <a:pt x="155" y="287"/>
                    <a:pt x="161" y="288"/>
                  </a:cubicBezTo>
                  <a:cubicBezTo>
                    <a:pt x="162" y="288"/>
                    <a:pt x="163" y="288"/>
                    <a:pt x="165" y="288"/>
                  </a:cubicBezTo>
                  <a:cubicBezTo>
                    <a:pt x="169" y="288"/>
                    <a:pt x="174" y="287"/>
                    <a:pt x="177" y="284"/>
                  </a:cubicBezTo>
                  <a:cubicBezTo>
                    <a:pt x="187" y="277"/>
                    <a:pt x="189" y="264"/>
                    <a:pt x="183" y="254"/>
                  </a:cubicBezTo>
                  <a:cubicBezTo>
                    <a:pt x="179" y="249"/>
                    <a:pt x="174" y="246"/>
                    <a:pt x="168" y="245"/>
                  </a:cubicBezTo>
                  <a:cubicBezTo>
                    <a:pt x="164" y="244"/>
                    <a:pt x="160" y="245"/>
                    <a:pt x="156" y="246"/>
                  </a:cubicBezTo>
                  <a:cubicBezTo>
                    <a:pt x="106" y="174"/>
                    <a:pt x="106" y="174"/>
                    <a:pt x="106" y="174"/>
                  </a:cubicBezTo>
                  <a:cubicBezTo>
                    <a:pt x="114" y="167"/>
                    <a:pt x="119" y="156"/>
                    <a:pt x="119" y="144"/>
                  </a:cubicBezTo>
                  <a:cubicBezTo>
                    <a:pt x="119" y="138"/>
                    <a:pt x="118" y="132"/>
                    <a:pt x="115" y="126"/>
                  </a:cubicBezTo>
                  <a:cubicBezTo>
                    <a:pt x="155" y="104"/>
                    <a:pt x="200" y="93"/>
                    <a:pt x="245" y="93"/>
                  </a:cubicBezTo>
                  <a:cubicBezTo>
                    <a:pt x="347" y="93"/>
                    <a:pt x="439" y="149"/>
                    <a:pt x="486" y="240"/>
                  </a:cubicBezTo>
                  <a:cubicBezTo>
                    <a:pt x="485" y="240"/>
                    <a:pt x="485" y="241"/>
                    <a:pt x="484" y="242"/>
                  </a:cubicBezTo>
                  <a:cubicBezTo>
                    <a:pt x="475" y="233"/>
                    <a:pt x="463" y="228"/>
                    <a:pt x="451" y="228"/>
                  </a:cubicBezTo>
                  <a:cubicBezTo>
                    <a:pt x="426" y="228"/>
                    <a:pt x="406" y="248"/>
                    <a:pt x="406" y="272"/>
                  </a:cubicBezTo>
                  <a:cubicBezTo>
                    <a:pt x="406" y="281"/>
                    <a:pt x="408" y="290"/>
                    <a:pt x="413" y="298"/>
                  </a:cubicBezTo>
                  <a:cubicBezTo>
                    <a:pt x="414" y="298"/>
                    <a:pt x="414" y="298"/>
                    <a:pt x="414" y="298"/>
                  </a:cubicBezTo>
                  <a:cubicBezTo>
                    <a:pt x="484" y="377"/>
                    <a:pt x="484" y="377"/>
                    <a:pt x="484" y="377"/>
                  </a:cubicBezTo>
                  <a:cubicBezTo>
                    <a:pt x="516" y="341"/>
                    <a:pt x="516" y="341"/>
                    <a:pt x="516" y="341"/>
                  </a:cubicBezTo>
                  <a:cubicBezTo>
                    <a:pt x="516" y="349"/>
                    <a:pt x="517" y="357"/>
                    <a:pt x="517" y="364"/>
                  </a:cubicBezTo>
                  <a:cubicBezTo>
                    <a:pt x="517" y="399"/>
                    <a:pt x="510" y="432"/>
                    <a:pt x="498" y="464"/>
                  </a:cubicBezTo>
                  <a:cubicBezTo>
                    <a:pt x="484" y="454"/>
                    <a:pt x="466" y="448"/>
                    <a:pt x="448" y="448"/>
                  </a:cubicBezTo>
                  <a:cubicBezTo>
                    <a:pt x="426" y="448"/>
                    <a:pt x="404" y="457"/>
                    <a:pt x="388" y="473"/>
                  </a:cubicBezTo>
                  <a:cubicBezTo>
                    <a:pt x="372" y="489"/>
                    <a:pt x="363" y="511"/>
                    <a:pt x="363" y="533"/>
                  </a:cubicBezTo>
                  <a:cubicBezTo>
                    <a:pt x="363" y="556"/>
                    <a:pt x="372" y="578"/>
                    <a:pt x="388" y="594"/>
                  </a:cubicBezTo>
                  <a:cubicBezTo>
                    <a:pt x="389" y="595"/>
                    <a:pt x="389" y="595"/>
                    <a:pt x="389" y="595"/>
                  </a:cubicBezTo>
                  <a:cubicBezTo>
                    <a:pt x="346" y="622"/>
                    <a:pt x="296" y="636"/>
                    <a:pt x="245" y="636"/>
                  </a:cubicBezTo>
                  <a:cubicBezTo>
                    <a:pt x="208" y="636"/>
                    <a:pt x="172" y="629"/>
                    <a:pt x="138" y="614"/>
                  </a:cubicBezTo>
                  <a:cubicBezTo>
                    <a:pt x="138" y="520"/>
                    <a:pt x="138" y="520"/>
                    <a:pt x="138" y="520"/>
                  </a:cubicBezTo>
                  <a:lnTo>
                    <a:pt x="58" y="520"/>
                  </a:lnTo>
                  <a:close/>
                  <a:moveTo>
                    <a:pt x="128" y="700"/>
                  </a:moveTo>
                  <a:cubicBezTo>
                    <a:pt x="128" y="716"/>
                    <a:pt x="115" y="730"/>
                    <a:pt x="98" y="730"/>
                  </a:cubicBezTo>
                  <a:cubicBezTo>
                    <a:pt x="81" y="730"/>
                    <a:pt x="68" y="716"/>
                    <a:pt x="68" y="700"/>
                  </a:cubicBezTo>
                  <a:cubicBezTo>
                    <a:pt x="68" y="565"/>
                    <a:pt x="68" y="565"/>
                    <a:pt x="68" y="565"/>
                  </a:cubicBezTo>
                  <a:cubicBezTo>
                    <a:pt x="128" y="565"/>
                    <a:pt x="128" y="565"/>
                    <a:pt x="128" y="565"/>
                  </a:cubicBezTo>
                  <a:lnTo>
                    <a:pt x="128" y="700"/>
                  </a:lnTo>
                  <a:close/>
                  <a:moveTo>
                    <a:pt x="128" y="556"/>
                  </a:moveTo>
                  <a:cubicBezTo>
                    <a:pt x="68" y="556"/>
                    <a:pt x="68" y="556"/>
                    <a:pt x="68" y="556"/>
                  </a:cubicBezTo>
                  <a:cubicBezTo>
                    <a:pt x="68" y="530"/>
                    <a:pt x="68" y="530"/>
                    <a:pt x="68" y="530"/>
                  </a:cubicBezTo>
                  <a:cubicBezTo>
                    <a:pt x="128" y="530"/>
                    <a:pt x="128" y="530"/>
                    <a:pt x="128" y="530"/>
                  </a:cubicBezTo>
                  <a:lnTo>
                    <a:pt x="128" y="556"/>
                  </a:lnTo>
                  <a:close/>
                  <a:moveTo>
                    <a:pt x="153" y="264"/>
                  </a:moveTo>
                  <a:cubicBezTo>
                    <a:pt x="153" y="261"/>
                    <a:pt x="155" y="258"/>
                    <a:pt x="158" y="256"/>
                  </a:cubicBezTo>
                  <a:cubicBezTo>
                    <a:pt x="160" y="255"/>
                    <a:pt x="162" y="254"/>
                    <a:pt x="165" y="254"/>
                  </a:cubicBezTo>
                  <a:cubicBezTo>
                    <a:pt x="165" y="254"/>
                    <a:pt x="166" y="254"/>
                    <a:pt x="167" y="254"/>
                  </a:cubicBezTo>
                  <a:cubicBezTo>
                    <a:pt x="170" y="255"/>
                    <a:pt x="173" y="257"/>
                    <a:pt x="175" y="259"/>
                  </a:cubicBezTo>
                  <a:cubicBezTo>
                    <a:pt x="179" y="265"/>
                    <a:pt x="177" y="272"/>
                    <a:pt x="172" y="276"/>
                  </a:cubicBezTo>
                  <a:cubicBezTo>
                    <a:pt x="169" y="278"/>
                    <a:pt x="166" y="279"/>
                    <a:pt x="163" y="278"/>
                  </a:cubicBezTo>
                  <a:cubicBezTo>
                    <a:pt x="159" y="278"/>
                    <a:pt x="157" y="276"/>
                    <a:pt x="155" y="273"/>
                  </a:cubicBezTo>
                  <a:cubicBezTo>
                    <a:pt x="153" y="271"/>
                    <a:pt x="152" y="267"/>
                    <a:pt x="153" y="264"/>
                  </a:cubicBezTo>
                  <a:close/>
                  <a:moveTo>
                    <a:pt x="84" y="20"/>
                  </a:moveTo>
                  <a:cubicBezTo>
                    <a:pt x="85" y="14"/>
                    <a:pt x="90" y="10"/>
                    <a:pt x="96" y="10"/>
                  </a:cubicBezTo>
                  <a:cubicBezTo>
                    <a:pt x="96" y="10"/>
                    <a:pt x="97" y="10"/>
                    <a:pt x="98" y="10"/>
                  </a:cubicBezTo>
                  <a:cubicBezTo>
                    <a:pt x="101" y="10"/>
                    <a:pt x="104" y="12"/>
                    <a:pt x="106" y="15"/>
                  </a:cubicBezTo>
                  <a:cubicBezTo>
                    <a:pt x="108" y="17"/>
                    <a:pt x="108" y="21"/>
                    <a:pt x="108" y="24"/>
                  </a:cubicBezTo>
                  <a:cubicBezTo>
                    <a:pt x="107" y="27"/>
                    <a:pt x="106" y="30"/>
                    <a:pt x="103" y="32"/>
                  </a:cubicBezTo>
                  <a:cubicBezTo>
                    <a:pt x="101" y="34"/>
                    <a:pt x="97" y="35"/>
                    <a:pt x="94" y="34"/>
                  </a:cubicBezTo>
                  <a:cubicBezTo>
                    <a:pt x="88" y="33"/>
                    <a:pt x="83" y="27"/>
                    <a:pt x="84" y="20"/>
                  </a:cubicBezTo>
                  <a:close/>
                  <a:moveTo>
                    <a:pt x="79" y="175"/>
                  </a:moveTo>
                  <a:cubicBezTo>
                    <a:pt x="62" y="175"/>
                    <a:pt x="48" y="161"/>
                    <a:pt x="48" y="144"/>
                  </a:cubicBezTo>
                  <a:cubicBezTo>
                    <a:pt x="48" y="127"/>
                    <a:pt x="62" y="114"/>
                    <a:pt x="79" y="114"/>
                  </a:cubicBezTo>
                  <a:cubicBezTo>
                    <a:pt x="96" y="114"/>
                    <a:pt x="109" y="127"/>
                    <a:pt x="109" y="144"/>
                  </a:cubicBezTo>
                  <a:cubicBezTo>
                    <a:pt x="109" y="161"/>
                    <a:pt x="96" y="175"/>
                    <a:pt x="79" y="175"/>
                  </a:cubicBezTo>
                  <a:close/>
                  <a:moveTo>
                    <a:pt x="484" y="363"/>
                  </a:moveTo>
                  <a:cubicBezTo>
                    <a:pt x="421" y="292"/>
                    <a:pt x="421" y="292"/>
                    <a:pt x="421" y="292"/>
                  </a:cubicBezTo>
                  <a:cubicBezTo>
                    <a:pt x="417" y="286"/>
                    <a:pt x="415" y="279"/>
                    <a:pt x="415" y="272"/>
                  </a:cubicBezTo>
                  <a:cubicBezTo>
                    <a:pt x="415" y="253"/>
                    <a:pt x="431" y="237"/>
                    <a:pt x="451" y="237"/>
                  </a:cubicBezTo>
                  <a:cubicBezTo>
                    <a:pt x="462" y="237"/>
                    <a:pt x="473" y="243"/>
                    <a:pt x="480" y="253"/>
                  </a:cubicBezTo>
                  <a:cubicBezTo>
                    <a:pt x="484" y="259"/>
                    <a:pt x="484" y="259"/>
                    <a:pt x="484" y="259"/>
                  </a:cubicBezTo>
                  <a:cubicBezTo>
                    <a:pt x="488" y="253"/>
                    <a:pt x="488" y="253"/>
                    <a:pt x="488" y="253"/>
                  </a:cubicBezTo>
                  <a:cubicBezTo>
                    <a:pt x="494" y="243"/>
                    <a:pt x="505" y="237"/>
                    <a:pt x="517" y="237"/>
                  </a:cubicBezTo>
                  <a:cubicBezTo>
                    <a:pt x="536" y="237"/>
                    <a:pt x="552" y="253"/>
                    <a:pt x="552" y="272"/>
                  </a:cubicBezTo>
                  <a:cubicBezTo>
                    <a:pt x="552" y="279"/>
                    <a:pt x="550" y="286"/>
                    <a:pt x="546" y="292"/>
                  </a:cubicBezTo>
                  <a:lnTo>
                    <a:pt x="484" y="363"/>
                  </a:lnTo>
                  <a:close/>
                  <a:moveTo>
                    <a:pt x="373" y="533"/>
                  </a:moveTo>
                  <a:cubicBezTo>
                    <a:pt x="373" y="492"/>
                    <a:pt x="407" y="458"/>
                    <a:pt x="448" y="458"/>
                  </a:cubicBezTo>
                  <a:cubicBezTo>
                    <a:pt x="490" y="458"/>
                    <a:pt x="524" y="492"/>
                    <a:pt x="524" y="533"/>
                  </a:cubicBezTo>
                  <a:cubicBezTo>
                    <a:pt x="524" y="575"/>
                    <a:pt x="490" y="609"/>
                    <a:pt x="448" y="609"/>
                  </a:cubicBezTo>
                  <a:cubicBezTo>
                    <a:pt x="407" y="609"/>
                    <a:pt x="373" y="575"/>
                    <a:pt x="373" y="5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4" name="Rectangle 3"/>
          <p:cNvSpPr/>
          <p:nvPr/>
        </p:nvSpPr>
        <p:spPr>
          <a:xfrm>
            <a:off x="751429" y="1336485"/>
            <a:ext cx="6092825" cy="1077218"/>
          </a:xfrm>
          <a:prstGeom prst="rect">
            <a:avLst/>
          </a:prstGeom>
        </p:spPr>
        <p:txBody>
          <a:bodyPr anchor="ctr">
            <a:spAutoFit/>
          </a:bodyPr>
          <a:lstStyle/>
          <a:p>
            <a:pPr algn="ctr"/>
            <a:r>
              <a:rPr lang="en-US" sz="3200" b="1" dirty="0">
                <a:solidFill>
                  <a:schemeClr val="lt1"/>
                </a:solidFill>
              </a:rPr>
              <a:t>Population growth and demographic change </a:t>
            </a:r>
            <a:r>
              <a:rPr lang="en-US" sz="3200" dirty="0">
                <a:solidFill>
                  <a:schemeClr val="lt1"/>
                </a:solidFill>
              </a:rPr>
              <a:t>	</a:t>
            </a:r>
          </a:p>
        </p:txBody>
      </p:sp>
      <p:sp>
        <p:nvSpPr>
          <p:cNvPr id="5" name="Rectangle 4"/>
          <p:cNvSpPr/>
          <p:nvPr/>
        </p:nvSpPr>
        <p:spPr>
          <a:xfrm>
            <a:off x="3389194" y="2649379"/>
            <a:ext cx="6092825" cy="584775"/>
          </a:xfrm>
          <a:prstGeom prst="rect">
            <a:avLst/>
          </a:prstGeom>
        </p:spPr>
        <p:txBody>
          <a:bodyPr anchor="ctr">
            <a:spAutoFit/>
          </a:bodyPr>
          <a:lstStyle/>
          <a:p>
            <a:pPr algn="ctr"/>
            <a:r>
              <a:rPr lang="en-US" sz="3200" b="1" dirty="0">
                <a:solidFill>
                  <a:schemeClr val="lt1"/>
                </a:solidFill>
              </a:rPr>
              <a:t>Pressure on ecosystems </a:t>
            </a:r>
            <a:r>
              <a:rPr lang="en-US" sz="3200" dirty="0">
                <a:solidFill>
                  <a:schemeClr val="lt1"/>
                </a:solidFill>
              </a:rPr>
              <a:t>	</a:t>
            </a:r>
          </a:p>
        </p:txBody>
      </p:sp>
      <p:sp>
        <p:nvSpPr>
          <p:cNvPr id="6" name="Rectangle 5"/>
          <p:cNvSpPr/>
          <p:nvPr/>
        </p:nvSpPr>
        <p:spPr>
          <a:xfrm>
            <a:off x="497118" y="3641019"/>
            <a:ext cx="6488806" cy="1077218"/>
          </a:xfrm>
          <a:prstGeom prst="rect">
            <a:avLst/>
          </a:prstGeom>
        </p:spPr>
        <p:txBody>
          <a:bodyPr wrap="square" anchor="ctr">
            <a:spAutoFit/>
          </a:bodyPr>
          <a:lstStyle/>
          <a:p>
            <a:pPr algn="ctr"/>
            <a:r>
              <a:rPr lang="en-US" sz="3200" b="1" dirty="0">
                <a:solidFill>
                  <a:schemeClr val="lt1"/>
                </a:solidFill>
              </a:rPr>
              <a:t>Societal changes and changing face of the customer</a:t>
            </a:r>
            <a:r>
              <a:rPr lang="en-US" sz="3200" dirty="0">
                <a:solidFill>
                  <a:schemeClr val="lt1"/>
                </a:solidFill>
              </a:rPr>
              <a:t>	</a:t>
            </a:r>
          </a:p>
        </p:txBody>
      </p:sp>
      <p:sp>
        <p:nvSpPr>
          <p:cNvPr id="8" name="Rectangle 7"/>
          <p:cNvSpPr/>
          <p:nvPr/>
        </p:nvSpPr>
        <p:spPr>
          <a:xfrm>
            <a:off x="6113688" y="1939801"/>
            <a:ext cx="6092825" cy="584775"/>
          </a:xfrm>
          <a:prstGeom prst="rect">
            <a:avLst/>
          </a:prstGeom>
        </p:spPr>
        <p:txBody>
          <a:bodyPr anchor="ctr">
            <a:spAutoFit/>
          </a:bodyPr>
          <a:lstStyle/>
          <a:p>
            <a:pPr algn="ctr"/>
            <a:r>
              <a:rPr lang="en-US" sz="3200" b="1" dirty="0">
                <a:solidFill>
                  <a:schemeClr val="lt1"/>
                </a:solidFill>
              </a:rPr>
              <a:t>Digitalization </a:t>
            </a:r>
            <a:r>
              <a:rPr lang="en-US" sz="3200" dirty="0">
                <a:solidFill>
                  <a:schemeClr val="lt1"/>
                </a:solidFill>
              </a:rPr>
              <a:t>	</a:t>
            </a:r>
          </a:p>
        </p:txBody>
      </p:sp>
      <p:sp>
        <p:nvSpPr>
          <p:cNvPr id="42" name="Rectangle 41"/>
          <p:cNvSpPr/>
          <p:nvPr/>
        </p:nvSpPr>
        <p:spPr>
          <a:xfrm>
            <a:off x="6113688" y="3455461"/>
            <a:ext cx="6092825" cy="584775"/>
          </a:xfrm>
          <a:prstGeom prst="rect">
            <a:avLst/>
          </a:prstGeom>
        </p:spPr>
        <p:txBody>
          <a:bodyPr anchor="ctr">
            <a:spAutoFit/>
          </a:bodyPr>
          <a:lstStyle/>
          <a:p>
            <a:pPr algn="ctr"/>
            <a:r>
              <a:rPr lang="en-US" sz="3200" b="1" dirty="0">
                <a:solidFill>
                  <a:schemeClr val="lt1"/>
                </a:solidFill>
              </a:rPr>
              <a:t>Technological leaps</a:t>
            </a:r>
            <a:endParaRPr lang="en-US" sz="3200" dirty="0">
              <a:solidFill>
                <a:schemeClr val="lt1"/>
              </a:solidFill>
            </a:endParaRPr>
          </a:p>
        </p:txBody>
      </p:sp>
      <p:sp>
        <p:nvSpPr>
          <p:cNvPr id="12" name="Rectangle 11"/>
          <p:cNvSpPr/>
          <p:nvPr/>
        </p:nvSpPr>
        <p:spPr bwMode="gray">
          <a:xfrm>
            <a:off x="713811" y="5199797"/>
            <a:ext cx="11214332" cy="9826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FFFFFF"/>
                </a:solidFill>
                <a:latin typeface="Arial" panose="020B0604020202020204" pitchFamily="34" charset="0"/>
              </a:rPr>
              <a:t>All of this</a:t>
            </a:r>
            <a:r>
              <a:rPr lang="en-US" sz="2000" b="1" dirty="0">
                <a:solidFill>
                  <a:srgbClr val="FFFFFF"/>
                </a:solidFill>
                <a:latin typeface="Arial" panose="020B0604020202020204" pitchFamily="34" charset="0"/>
              </a:rPr>
              <a:t> will lead to significant changes: </a:t>
            </a:r>
          </a:p>
          <a:p>
            <a:pPr algn="ctr" rtl="0" eaLnBrk="1" fontAlgn="auto" hangingPunct="1">
              <a:lnSpc>
                <a:spcPct val="100000"/>
              </a:lnSpc>
              <a:spcBef>
                <a:spcPts val="0"/>
              </a:spcBef>
              <a:spcAft>
                <a:spcPts val="0"/>
              </a:spcAft>
            </a:pPr>
            <a:r>
              <a:rPr lang="en-US" sz="2000" b="1" dirty="0">
                <a:solidFill>
                  <a:srgbClr val="FFFFFF"/>
                </a:solidFill>
                <a:latin typeface="Arial" panose="020B0604020202020204" pitchFamily="34" charset="0"/>
              </a:rPr>
              <a:t>New jobs will emerge, new skills will be required, and each of us will need to learn…  </a:t>
            </a:r>
            <a:endParaRPr lang="en-US" sz="2000" b="1" i="0" u="none" baseline="0" dirty="0">
              <a:solidFill>
                <a:srgbClr val="FFFFFF"/>
              </a:solidFill>
              <a:latin typeface="Arial" panose="020B0604020202020204" pitchFamily="34" charset="0"/>
            </a:endParaRPr>
          </a:p>
        </p:txBody>
      </p:sp>
    </p:spTree>
    <p:extLst>
      <p:ext uri="{BB962C8B-B14F-4D97-AF65-F5344CB8AC3E}">
        <p14:creationId xmlns:p14="http://schemas.microsoft.com/office/powerpoint/2010/main" val="82514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9">
            <a:extLst>
              <a:ext uri="{FF2B5EF4-FFF2-40B4-BE49-F238E27FC236}">
                <a16:creationId xmlns:a16="http://schemas.microsoft.com/office/drawing/2014/main" xmlns="" id="{475CC97F-6934-47BE-A235-2E86251F1859}"/>
              </a:ext>
            </a:extLst>
          </p:cNvPr>
          <p:cNvSpPr/>
          <p:nvPr/>
        </p:nvSpPr>
        <p:spPr bwMode="gray">
          <a:xfrm>
            <a:off x="1438274" y="-13708"/>
            <a:ext cx="10768239" cy="6884177"/>
          </a:xfrm>
          <a:prstGeom prst="rect">
            <a:avLst/>
          </a:prstGeom>
          <a:solidFill>
            <a:srgbClr val="004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74" name="Rechteck 6">
            <a:extLst>
              <a:ext uri="{FF2B5EF4-FFF2-40B4-BE49-F238E27FC236}">
                <a16:creationId xmlns:a16="http://schemas.microsoft.com/office/drawing/2014/main" xmlns="" id="{9B83B1FB-BDB8-4C4D-B2F0-A78CE31CF8CB}"/>
              </a:ext>
            </a:extLst>
          </p:cNvPr>
          <p:cNvSpPr/>
          <p:nvPr/>
        </p:nvSpPr>
        <p:spPr bwMode="auto">
          <a:xfrm flipH="1" flipV="1">
            <a:off x="-2296" y="-12262"/>
            <a:ext cx="8039518" cy="6882565"/>
          </a:xfrm>
          <a:custGeom>
            <a:avLst/>
            <a:gdLst/>
            <a:ahLst/>
            <a:cxnLst/>
            <a:rect l="l" t="t" r="r" b="b"/>
            <a:pathLst>
              <a:path w="7787099" h="6882565">
                <a:moveTo>
                  <a:pt x="0" y="6882565"/>
                </a:moveTo>
                <a:lnTo>
                  <a:pt x="2976133" y="0"/>
                </a:lnTo>
                <a:lnTo>
                  <a:pt x="7787099" y="0"/>
                </a:lnTo>
                <a:lnTo>
                  <a:pt x="6553534" y="6879896"/>
                </a:lnTo>
                <a:close/>
              </a:path>
            </a:pathLst>
          </a:custGeom>
          <a:gradFill flip="none" rotWithShape="1">
            <a:gsLst>
              <a:gs pos="0">
                <a:srgbClr val="005A7A"/>
              </a:gs>
              <a:gs pos="100000">
                <a:srgbClr val="0090C5">
                  <a:lumMod val="50000"/>
                </a:srgbClr>
              </a:gs>
            </a:gsLst>
            <a:lin ang="162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defTabSz="1221456">
              <a:defRPr/>
            </a:pPr>
            <a:endParaRPr lang="de-DE" sz="2400" kern="0" dirty="0" err="1">
              <a:solidFill>
                <a:srgbClr val="4D4D4D"/>
              </a:solidFill>
            </a:endParaRPr>
          </a:p>
        </p:txBody>
      </p:sp>
      <p:sp>
        <p:nvSpPr>
          <p:cNvPr id="7" name="Titel 6">
            <a:extLst>
              <a:ext uri="{FF2B5EF4-FFF2-40B4-BE49-F238E27FC236}">
                <a16:creationId xmlns:a16="http://schemas.microsoft.com/office/drawing/2014/main" xmlns="" id="{7D5BD909-61B7-4F8E-B2F9-C0CE944E0A79}"/>
              </a:ext>
            </a:extLst>
          </p:cNvPr>
          <p:cNvSpPr>
            <a:spLocks noGrp="1"/>
          </p:cNvSpPr>
          <p:nvPr>
            <p:ph type="title"/>
          </p:nvPr>
        </p:nvSpPr>
        <p:spPr/>
        <p:txBody>
          <a:bodyPr/>
          <a:lstStyle/>
          <a:p>
            <a:r>
              <a:rPr lang="en-US" b="1" dirty="0">
                <a:solidFill>
                  <a:srgbClr val="FFFFFF"/>
                </a:solidFill>
              </a:rPr>
              <a:t>The Future of Jobs Report 2018 – World Economic Forum</a:t>
            </a:r>
            <a:br>
              <a:rPr lang="en-US" b="1" dirty="0">
                <a:solidFill>
                  <a:srgbClr val="FFFFFF"/>
                </a:solidFill>
              </a:rPr>
            </a:br>
            <a:r>
              <a:rPr lang="en-US" sz="2000" b="1" dirty="0">
                <a:solidFill>
                  <a:srgbClr val="FFFFFF"/>
                </a:solidFill>
              </a:rPr>
              <a:t>Share of stable, new and redundant roles, 2018 vs. 2022 (projected) </a:t>
            </a:r>
          </a:p>
        </p:txBody>
      </p:sp>
      <p:sp>
        <p:nvSpPr>
          <p:cNvPr id="2" name="Fußzeilenplatzhalter 1">
            <a:extLst>
              <a:ext uri="{FF2B5EF4-FFF2-40B4-BE49-F238E27FC236}">
                <a16:creationId xmlns:a16="http://schemas.microsoft.com/office/drawing/2014/main" xmlns="" id="{EF2F8EE4-4E4D-442C-95B9-B6B4DEB71CA2}"/>
              </a:ext>
            </a:extLst>
          </p:cNvPr>
          <p:cNvSpPr>
            <a:spLocks noGrp="1"/>
          </p:cNvSpPr>
          <p:nvPr>
            <p:ph type="ftr" sz="quarter" idx="16"/>
          </p:nvPr>
        </p:nvSpPr>
        <p:spPr/>
        <p:txBody>
          <a:bodyPr/>
          <a:lstStyle/>
          <a:p>
            <a:r>
              <a:rPr lang="en-US" dirty="0">
                <a:solidFill>
                  <a:srgbClr val="FFFFFF"/>
                </a:solidFill>
              </a:rPr>
              <a:t>/// Advancing Digital  at Bayer /// Data as an Asset Convention ///  September 2019</a:t>
            </a:r>
          </a:p>
        </p:txBody>
      </p:sp>
      <p:sp>
        <p:nvSpPr>
          <p:cNvPr id="3" name="Foliennummernplatzhalter 2">
            <a:extLst>
              <a:ext uri="{FF2B5EF4-FFF2-40B4-BE49-F238E27FC236}">
                <a16:creationId xmlns:a16="http://schemas.microsoft.com/office/drawing/2014/main" xmlns="" id="{8409A87D-B088-447E-80CA-B9AEB32142A0}"/>
              </a:ext>
            </a:extLst>
          </p:cNvPr>
          <p:cNvSpPr>
            <a:spLocks noGrp="1"/>
          </p:cNvSpPr>
          <p:nvPr>
            <p:ph type="sldNum" sz="quarter" idx="17"/>
          </p:nvPr>
        </p:nvSpPr>
        <p:spPr/>
        <p:txBody>
          <a:bodyPr/>
          <a:lstStyle/>
          <a:p>
            <a:fld id="{EEAD9179-7A6B-4268-BEB2-F3B8EB06115B}" type="slidenum">
              <a:rPr lang="en-US" smtClean="0">
                <a:solidFill>
                  <a:srgbClr val="00BCFF"/>
                </a:solidFill>
              </a:rPr>
              <a:pPr/>
              <a:t>4</a:t>
            </a:fld>
            <a:endParaRPr lang="en-US" dirty="0">
              <a:solidFill>
                <a:srgbClr val="00BCFF"/>
              </a:solidFill>
            </a:endParaRPr>
          </a:p>
        </p:txBody>
      </p:sp>
      <p:grpSp>
        <p:nvGrpSpPr>
          <p:cNvPr id="140" name="Gruppieren 139">
            <a:extLst>
              <a:ext uri="{FF2B5EF4-FFF2-40B4-BE49-F238E27FC236}">
                <a16:creationId xmlns:a16="http://schemas.microsoft.com/office/drawing/2014/main" xmlns="" id="{693FF34E-9AFA-46A7-9E57-368571AA9DFA}"/>
              </a:ext>
            </a:extLst>
          </p:cNvPr>
          <p:cNvGrpSpPr/>
          <p:nvPr/>
        </p:nvGrpSpPr>
        <p:grpSpPr>
          <a:xfrm>
            <a:off x="-2151" y="1189995"/>
            <a:ext cx="998538" cy="1546225"/>
            <a:chOff x="-2151" y="1189995"/>
            <a:chExt cx="998538" cy="1546225"/>
          </a:xfrm>
        </p:grpSpPr>
        <p:sp>
          <p:nvSpPr>
            <p:cNvPr id="141" name="Freeform 6">
              <a:extLst>
                <a:ext uri="{FF2B5EF4-FFF2-40B4-BE49-F238E27FC236}">
                  <a16:creationId xmlns:a16="http://schemas.microsoft.com/office/drawing/2014/main" xmlns="" id="{A2BCDCDB-5F91-4B5E-B8B1-E7426BAAE111}"/>
                </a:ext>
              </a:extLst>
            </p:cNvPr>
            <p:cNvSpPr>
              <a:spLocks/>
            </p:cNvSpPr>
            <p:nvPr/>
          </p:nvSpPr>
          <p:spPr bwMode="auto">
            <a:xfrm>
              <a:off x="-2151" y="2610807"/>
              <a:ext cx="788988" cy="125413"/>
            </a:xfrm>
            <a:custGeom>
              <a:avLst/>
              <a:gdLst>
                <a:gd name="T0" fmla="*/ 245 w 494"/>
                <a:gd name="T1" fmla="*/ 70 h 79"/>
                <a:gd name="T2" fmla="*/ 0 w 494"/>
                <a:gd name="T3" fmla="*/ 2 h 79"/>
                <a:gd name="T4" fmla="*/ 0 w 494"/>
                <a:gd name="T5" fmla="*/ 13 h 79"/>
                <a:gd name="T6" fmla="*/ 56 w 494"/>
                <a:gd name="T7" fmla="*/ 41 h 79"/>
                <a:gd name="T8" fmla="*/ 147 w 494"/>
                <a:gd name="T9" fmla="*/ 69 h 79"/>
                <a:gd name="T10" fmla="*/ 245 w 494"/>
                <a:gd name="T11" fmla="*/ 79 h 79"/>
                <a:gd name="T12" fmla="*/ 343 w 494"/>
                <a:gd name="T13" fmla="*/ 69 h 79"/>
                <a:gd name="T14" fmla="*/ 435 w 494"/>
                <a:gd name="T15" fmla="*/ 41 h 79"/>
                <a:gd name="T16" fmla="*/ 492 w 494"/>
                <a:gd name="T17" fmla="*/ 12 h 79"/>
                <a:gd name="T18" fmla="*/ 494 w 494"/>
                <a:gd name="T19" fmla="*/ 0 h 79"/>
                <a:gd name="T20" fmla="*/ 245 w 494"/>
                <a:gd name="T2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9">
                  <a:moveTo>
                    <a:pt x="245" y="70"/>
                  </a:moveTo>
                  <a:cubicBezTo>
                    <a:pt x="156" y="70"/>
                    <a:pt x="72" y="45"/>
                    <a:pt x="0" y="2"/>
                  </a:cubicBezTo>
                  <a:cubicBezTo>
                    <a:pt x="0" y="13"/>
                    <a:pt x="0" y="13"/>
                    <a:pt x="0" y="13"/>
                  </a:cubicBezTo>
                  <a:cubicBezTo>
                    <a:pt x="18" y="24"/>
                    <a:pt x="37" y="33"/>
                    <a:pt x="56" y="41"/>
                  </a:cubicBezTo>
                  <a:cubicBezTo>
                    <a:pt x="85" y="54"/>
                    <a:pt x="116" y="63"/>
                    <a:pt x="147" y="69"/>
                  </a:cubicBezTo>
                  <a:cubicBezTo>
                    <a:pt x="179" y="76"/>
                    <a:pt x="212" y="79"/>
                    <a:pt x="245" y="79"/>
                  </a:cubicBezTo>
                  <a:cubicBezTo>
                    <a:pt x="278" y="79"/>
                    <a:pt x="311" y="76"/>
                    <a:pt x="343" y="69"/>
                  </a:cubicBezTo>
                  <a:cubicBezTo>
                    <a:pt x="375" y="63"/>
                    <a:pt x="405" y="54"/>
                    <a:pt x="435" y="41"/>
                  </a:cubicBezTo>
                  <a:cubicBezTo>
                    <a:pt x="454" y="33"/>
                    <a:pt x="473" y="23"/>
                    <a:pt x="492" y="12"/>
                  </a:cubicBezTo>
                  <a:cubicBezTo>
                    <a:pt x="494" y="0"/>
                    <a:pt x="494" y="0"/>
                    <a:pt x="494" y="0"/>
                  </a:cubicBezTo>
                  <a:cubicBezTo>
                    <a:pt x="421" y="44"/>
                    <a:pt x="336" y="70"/>
                    <a:pt x="245"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2" name="Freeform 7">
              <a:extLst>
                <a:ext uri="{FF2B5EF4-FFF2-40B4-BE49-F238E27FC236}">
                  <a16:creationId xmlns:a16="http://schemas.microsoft.com/office/drawing/2014/main" xmlns="" id="{0F67D967-272A-43C9-A84D-5D3CF66A0D66}"/>
                </a:ext>
              </a:extLst>
            </p:cNvPr>
            <p:cNvSpPr>
              <a:spLocks/>
            </p:cNvSpPr>
            <p:nvPr/>
          </p:nvSpPr>
          <p:spPr bwMode="auto">
            <a:xfrm>
              <a:off x="-2151" y="1189995"/>
              <a:ext cx="998538" cy="311150"/>
            </a:xfrm>
            <a:custGeom>
              <a:avLst/>
              <a:gdLst>
                <a:gd name="T0" fmla="*/ 517 w 626"/>
                <a:gd name="T1" fmla="*/ 83 h 196"/>
                <a:gd name="T2" fmla="*/ 435 w 626"/>
                <a:gd name="T3" fmla="*/ 38 h 196"/>
                <a:gd name="T4" fmla="*/ 343 w 626"/>
                <a:gd name="T5" fmla="*/ 9 h 196"/>
                <a:gd name="T6" fmla="*/ 245 w 626"/>
                <a:gd name="T7" fmla="*/ 0 h 196"/>
                <a:gd name="T8" fmla="*/ 147 w 626"/>
                <a:gd name="T9" fmla="*/ 9 h 196"/>
                <a:gd name="T10" fmla="*/ 56 w 626"/>
                <a:gd name="T11" fmla="*/ 38 h 196"/>
                <a:gd name="T12" fmla="*/ 0 w 626"/>
                <a:gd name="T13" fmla="*/ 66 h 196"/>
                <a:gd name="T14" fmla="*/ 0 w 626"/>
                <a:gd name="T15" fmla="*/ 77 h 196"/>
                <a:gd name="T16" fmla="*/ 245 w 626"/>
                <a:gd name="T17" fmla="*/ 9 h 196"/>
                <a:gd name="T18" fmla="*/ 623 w 626"/>
                <a:gd name="T19" fmla="*/ 196 h 196"/>
                <a:gd name="T20" fmla="*/ 626 w 626"/>
                <a:gd name="T21" fmla="*/ 183 h 196"/>
                <a:gd name="T22" fmla="*/ 589 w 626"/>
                <a:gd name="T23" fmla="*/ 142 h 196"/>
                <a:gd name="T24" fmla="*/ 517 w 626"/>
                <a:gd name="T25" fmla="*/ 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6" h="196">
                  <a:moveTo>
                    <a:pt x="517" y="83"/>
                  </a:moveTo>
                  <a:cubicBezTo>
                    <a:pt x="491" y="65"/>
                    <a:pt x="464" y="50"/>
                    <a:pt x="435" y="38"/>
                  </a:cubicBezTo>
                  <a:cubicBezTo>
                    <a:pt x="405" y="25"/>
                    <a:pt x="375" y="16"/>
                    <a:pt x="343" y="9"/>
                  </a:cubicBezTo>
                  <a:cubicBezTo>
                    <a:pt x="311" y="3"/>
                    <a:pt x="278" y="0"/>
                    <a:pt x="245" y="0"/>
                  </a:cubicBezTo>
                  <a:cubicBezTo>
                    <a:pt x="212" y="0"/>
                    <a:pt x="179" y="3"/>
                    <a:pt x="147" y="9"/>
                  </a:cubicBezTo>
                  <a:cubicBezTo>
                    <a:pt x="116" y="16"/>
                    <a:pt x="85" y="25"/>
                    <a:pt x="56" y="38"/>
                  </a:cubicBezTo>
                  <a:cubicBezTo>
                    <a:pt x="37" y="46"/>
                    <a:pt x="18" y="55"/>
                    <a:pt x="0" y="66"/>
                  </a:cubicBezTo>
                  <a:cubicBezTo>
                    <a:pt x="0" y="77"/>
                    <a:pt x="0" y="77"/>
                    <a:pt x="0" y="77"/>
                  </a:cubicBezTo>
                  <a:cubicBezTo>
                    <a:pt x="72" y="34"/>
                    <a:pt x="156" y="9"/>
                    <a:pt x="245" y="9"/>
                  </a:cubicBezTo>
                  <a:cubicBezTo>
                    <a:pt x="399" y="9"/>
                    <a:pt x="536" y="82"/>
                    <a:pt x="623" y="196"/>
                  </a:cubicBezTo>
                  <a:cubicBezTo>
                    <a:pt x="626" y="183"/>
                    <a:pt x="626" y="183"/>
                    <a:pt x="626" y="183"/>
                  </a:cubicBezTo>
                  <a:cubicBezTo>
                    <a:pt x="614" y="169"/>
                    <a:pt x="602" y="155"/>
                    <a:pt x="589" y="142"/>
                  </a:cubicBezTo>
                  <a:cubicBezTo>
                    <a:pt x="567" y="120"/>
                    <a:pt x="543" y="100"/>
                    <a:pt x="517"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3" name="Freeform 8">
              <a:extLst>
                <a:ext uri="{FF2B5EF4-FFF2-40B4-BE49-F238E27FC236}">
                  <a16:creationId xmlns:a16="http://schemas.microsoft.com/office/drawing/2014/main" xmlns="" id="{F5AAFB50-8DC4-4BD9-965F-9EE40F28132C}"/>
                </a:ext>
              </a:extLst>
            </p:cNvPr>
            <p:cNvSpPr>
              <a:spLocks noEditPoints="1"/>
            </p:cNvSpPr>
            <p:nvPr/>
          </p:nvSpPr>
          <p:spPr bwMode="auto">
            <a:xfrm>
              <a:off x="145487" y="2099632"/>
              <a:ext cx="76200" cy="76200"/>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9 h 48"/>
                <a:gd name="T12" fmla="*/ 9 w 48"/>
                <a:gd name="T13" fmla="*/ 24 h 48"/>
                <a:gd name="T14" fmla="*/ 24 w 48"/>
                <a:gd name="T15" fmla="*/ 10 h 48"/>
                <a:gd name="T16" fmla="*/ 38 w 48"/>
                <a:gd name="T17" fmla="*/ 24 h 48"/>
                <a:gd name="T18" fmla="*/ 24 w 4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8"/>
                    <a:pt x="11" y="48"/>
                    <a:pt x="24" y="48"/>
                  </a:cubicBezTo>
                  <a:cubicBezTo>
                    <a:pt x="37" y="48"/>
                    <a:pt x="48" y="38"/>
                    <a:pt x="48" y="24"/>
                  </a:cubicBezTo>
                  <a:cubicBezTo>
                    <a:pt x="48" y="11"/>
                    <a:pt x="37" y="0"/>
                    <a:pt x="24" y="0"/>
                  </a:cubicBezTo>
                  <a:close/>
                  <a:moveTo>
                    <a:pt x="24" y="39"/>
                  </a:moveTo>
                  <a:cubicBezTo>
                    <a:pt x="16" y="39"/>
                    <a:pt x="9" y="32"/>
                    <a:pt x="9" y="24"/>
                  </a:cubicBezTo>
                  <a:cubicBezTo>
                    <a:pt x="9" y="16"/>
                    <a:pt x="16" y="10"/>
                    <a:pt x="24" y="10"/>
                  </a:cubicBezTo>
                  <a:cubicBezTo>
                    <a:pt x="32" y="10"/>
                    <a:pt x="38" y="16"/>
                    <a:pt x="38" y="24"/>
                  </a:cubicBezTo>
                  <a:cubicBezTo>
                    <a:pt x="38" y="32"/>
                    <a:pt x="32" y="39"/>
                    <a:pt x="24"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4" name="Freeform 9">
              <a:extLst>
                <a:ext uri="{FF2B5EF4-FFF2-40B4-BE49-F238E27FC236}">
                  <a16:creationId xmlns:a16="http://schemas.microsoft.com/office/drawing/2014/main" xmlns="" id="{E30812D8-C8C7-414A-9384-844155C2FFCD}"/>
                </a:ext>
              </a:extLst>
            </p:cNvPr>
            <p:cNvSpPr>
              <a:spLocks noEditPoints="1"/>
            </p:cNvSpPr>
            <p:nvPr/>
          </p:nvSpPr>
          <p:spPr bwMode="auto">
            <a:xfrm>
              <a:off x="648725" y="2167895"/>
              <a:ext cx="130175" cy="128588"/>
            </a:xfrm>
            <a:custGeom>
              <a:avLst/>
              <a:gdLst>
                <a:gd name="T0" fmla="*/ 40 w 81"/>
                <a:gd name="T1" fmla="*/ 0 h 81"/>
                <a:gd name="T2" fmla="*/ 0 w 81"/>
                <a:gd name="T3" fmla="*/ 40 h 81"/>
                <a:gd name="T4" fmla="*/ 40 w 81"/>
                <a:gd name="T5" fmla="*/ 81 h 81"/>
                <a:gd name="T6" fmla="*/ 81 w 81"/>
                <a:gd name="T7" fmla="*/ 40 h 81"/>
                <a:gd name="T8" fmla="*/ 40 w 81"/>
                <a:gd name="T9" fmla="*/ 0 h 81"/>
                <a:gd name="T10" fmla="*/ 40 w 81"/>
                <a:gd name="T11" fmla="*/ 71 h 81"/>
                <a:gd name="T12" fmla="*/ 10 w 81"/>
                <a:gd name="T13" fmla="*/ 40 h 81"/>
                <a:gd name="T14" fmla="*/ 40 w 81"/>
                <a:gd name="T15" fmla="*/ 10 h 81"/>
                <a:gd name="T16" fmla="*/ 71 w 81"/>
                <a:gd name="T17" fmla="*/ 40 h 81"/>
                <a:gd name="T18" fmla="*/ 40 w 81"/>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18" y="0"/>
                    <a:pt x="0" y="18"/>
                    <a:pt x="0" y="40"/>
                  </a:cubicBezTo>
                  <a:cubicBezTo>
                    <a:pt x="0" y="63"/>
                    <a:pt x="18" y="81"/>
                    <a:pt x="40" y="81"/>
                  </a:cubicBezTo>
                  <a:cubicBezTo>
                    <a:pt x="63" y="81"/>
                    <a:pt x="81" y="63"/>
                    <a:pt x="81" y="40"/>
                  </a:cubicBezTo>
                  <a:cubicBezTo>
                    <a:pt x="81" y="18"/>
                    <a:pt x="63" y="0"/>
                    <a:pt x="40" y="0"/>
                  </a:cubicBezTo>
                  <a:close/>
                  <a:moveTo>
                    <a:pt x="40" y="71"/>
                  </a:moveTo>
                  <a:cubicBezTo>
                    <a:pt x="24" y="71"/>
                    <a:pt x="10" y="57"/>
                    <a:pt x="10" y="40"/>
                  </a:cubicBezTo>
                  <a:cubicBezTo>
                    <a:pt x="10" y="24"/>
                    <a:pt x="24" y="10"/>
                    <a:pt x="40" y="10"/>
                  </a:cubicBezTo>
                  <a:cubicBezTo>
                    <a:pt x="57" y="10"/>
                    <a:pt x="71" y="24"/>
                    <a:pt x="71" y="40"/>
                  </a:cubicBezTo>
                  <a:cubicBezTo>
                    <a:pt x="71" y="57"/>
                    <a:pt x="57" y="71"/>
                    <a:pt x="40"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5" name="Freeform 10">
              <a:extLst>
                <a:ext uri="{FF2B5EF4-FFF2-40B4-BE49-F238E27FC236}">
                  <a16:creationId xmlns:a16="http://schemas.microsoft.com/office/drawing/2014/main" xmlns="" id="{62F353F6-DE7E-4360-A7ED-C6A6FE5E4C40}"/>
                </a:ext>
              </a:extLst>
            </p:cNvPr>
            <p:cNvSpPr>
              <a:spLocks noEditPoints="1"/>
            </p:cNvSpPr>
            <p:nvPr/>
          </p:nvSpPr>
          <p:spPr bwMode="auto">
            <a:xfrm>
              <a:off x="613799" y="2132970"/>
              <a:ext cx="200025" cy="198438"/>
            </a:xfrm>
            <a:custGeom>
              <a:avLst/>
              <a:gdLst>
                <a:gd name="T0" fmla="*/ 62 w 125"/>
                <a:gd name="T1" fmla="*/ 0 h 125"/>
                <a:gd name="T2" fmla="*/ 0 w 125"/>
                <a:gd name="T3" fmla="*/ 62 h 125"/>
                <a:gd name="T4" fmla="*/ 62 w 125"/>
                <a:gd name="T5" fmla="*/ 125 h 125"/>
                <a:gd name="T6" fmla="*/ 125 w 125"/>
                <a:gd name="T7" fmla="*/ 62 h 125"/>
                <a:gd name="T8" fmla="*/ 62 w 125"/>
                <a:gd name="T9" fmla="*/ 0 h 125"/>
                <a:gd name="T10" fmla="*/ 62 w 125"/>
                <a:gd name="T11" fmla="*/ 115 h 125"/>
                <a:gd name="T12" fmla="*/ 9 w 125"/>
                <a:gd name="T13" fmla="*/ 62 h 125"/>
                <a:gd name="T14" fmla="*/ 62 w 125"/>
                <a:gd name="T15" fmla="*/ 9 h 125"/>
                <a:gd name="T16" fmla="*/ 115 w 125"/>
                <a:gd name="T17" fmla="*/ 62 h 125"/>
                <a:gd name="T18" fmla="*/ 62 w 125"/>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2" y="0"/>
                  </a:moveTo>
                  <a:cubicBezTo>
                    <a:pt x="28" y="0"/>
                    <a:pt x="0" y="28"/>
                    <a:pt x="0" y="62"/>
                  </a:cubicBezTo>
                  <a:cubicBezTo>
                    <a:pt x="0" y="97"/>
                    <a:pt x="28" y="125"/>
                    <a:pt x="62" y="125"/>
                  </a:cubicBezTo>
                  <a:cubicBezTo>
                    <a:pt x="97" y="125"/>
                    <a:pt x="125" y="97"/>
                    <a:pt x="125" y="62"/>
                  </a:cubicBezTo>
                  <a:cubicBezTo>
                    <a:pt x="125" y="28"/>
                    <a:pt x="97" y="0"/>
                    <a:pt x="62" y="0"/>
                  </a:cubicBezTo>
                  <a:close/>
                  <a:moveTo>
                    <a:pt x="62" y="115"/>
                  </a:moveTo>
                  <a:cubicBezTo>
                    <a:pt x="33" y="115"/>
                    <a:pt x="9" y="92"/>
                    <a:pt x="9" y="62"/>
                  </a:cubicBezTo>
                  <a:cubicBezTo>
                    <a:pt x="9" y="33"/>
                    <a:pt x="33" y="9"/>
                    <a:pt x="62" y="9"/>
                  </a:cubicBezTo>
                  <a:cubicBezTo>
                    <a:pt x="92" y="9"/>
                    <a:pt x="115" y="33"/>
                    <a:pt x="115" y="62"/>
                  </a:cubicBezTo>
                  <a:cubicBezTo>
                    <a:pt x="115" y="92"/>
                    <a:pt x="92" y="115"/>
                    <a:pt x="62" y="1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6" name="Freeform 11">
              <a:extLst>
                <a:ext uri="{FF2B5EF4-FFF2-40B4-BE49-F238E27FC236}">
                  <a16:creationId xmlns:a16="http://schemas.microsoft.com/office/drawing/2014/main" xmlns="" id="{B7D81B13-232F-4D91-ACC9-0E4ED2C1FAC4}"/>
                </a:ext>
              </a:extLst>
            </p:cNvPr>
            <p:cNvSpPr>
              <a:spLocks noEditPoints="1"/>
            </p:cNvSpPr>
            <p:nvPr/>
          </p:nvSpPr>
          <p:spPr bwMode="auto">
            <a:xfrm>
              <a:off x="89924" y="2040895"/>
              <a:ext cx="57150" cy="5556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26 h 35"/>
                <a:gd name="T12" fmla="*/ 10 w 35"/>
                <a:gd name="T13" fmla="*/ 18 h 35"/>
                <a:gd name="T14" fmla="*/ 18 w 35"/>
                <a:gd name="T15" fmla="*/ 9 h 35"/>
                <a:gd name="T16" fmla="*/ 26 w 35"/>
                <a:gd name="T17" fmla="*/ 18 h 35"/>
                <a:gd name="T18" fmla="*/ 18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26"/>
                  </a:moveTo>
                  <a:cubicBezTo>
                    <a:pt x="13" y="26"/>
                    <a:pt x="10" y="22"/>
                    <a:pt x="10" y="18"/>
                  </a:cubicBezTo>
                  <a:cubicBezTo>
                    <a:pt x="10" y="13"/>
                    <a:pt x="13" y="9"/>
                    <a:pt x="18" y="9"/>
                  </a:cubicBezTo>
                  <a:cubicBezTo>
                    <a:pt x="22" y="9"/>
                    <a:pt x="26" y="13"/>
                    <a:pt x="26" y="18"/>
                  </a:cubicBezTo>
                  <a:cubicBezTo>
                    <a:pt x="26" y="22"/>
                    <a:pt x="22" y="26"/>
                    <a:pt x="18"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7" name="Freeform 12">
              <a:extLst>
                <a:ext uri="{FF2B5EF4-FFF2-40B4-BE49-F238E27FC236}">
                  <a16:creationId xmlns:a16="http://schemas.microsoft.com/office/drawing/2014/main" xmlns="" id="{1BE5228B-4E18-4EE5-994D-4A1CB008138C}"/>
                </a:ext>
              </a:extLst>
            </p:cNvPr>
            <p:cNvSpPr>
              <a:spLocks noEditPoints="1"/>
            </p:cNvSpPr>
            <p:nvPr/>
          </p:nvSpPr>
          <p:spPr bwMode="auto">
            <a:xfrm>
              <a:off x="-2151" y="1383670"/>
              <a:ext cx="896938" cy="1174750"/>
            </a:xfrm>
            <a:custGeom>
              <a:avLst/>
              <a:gdLst>
                <a:gd name="T0" fmla="*/ 0 w 562"/>
                <a:gd name="T1" fmla="*/ 481 h 739"/>
                <a:gd name="T2" fmla="*/ 58 w 562"/>
                <a:gd name="T3" fmla="*/ 575 h 739"/>
                <a:gd name="T4" fmla="*/ 138 w 562"/>
                <a:gd name="T5" fmla="*/ 700 h 739"/>
                <a:gd name="T6" fmla="*/ 397 w 562"/>
                <a:gd name="T7" fmla="*/ 601 h 739"/>
                <a:gd name="T8" fmla="*/ 534 w 562"/>
                <a:gd name="T9" fmla="*/ 533 h 739"/>
                <a:gd name="T10" fmla="*/ 526 w 562"/>
                <a:gd name="T11" fmla="*/ 364 h 739"/>
                <a:gd name="T12" fmla="*/ 554 w 562"/>
                <a:gd name="T13" fmla="*/ 298 h 739"/>
                <a:gd name="T14" fmla="*/ 517 w 562"/>
                <a:gd name="T15" fmla="*/ 228 h 739"/>
                <a:gd name="T16" fmla="*/ 245 w 562"/>
                <a:gd name="T17" fmla="*/ 83 h 739"/>
                <a:gd name="T18" fmla="*/ 89 w 562"/>
                <a:gd name="T19" fmla="*/ 105 h 739"/>
                <a:gd name="T20" fmla="*/ 117 w 562"/>
                <a:gd name="T21" fmla="*/ 25 h 739"/>
                <a:gd name="T22" fmla="*/ 83 w 562"/>
                <a:gd name="T23" fmla="*/ 5 h 739"/>
                <a:gd name="T24" fmla="*/ 88 w 562"/>
                <a:gd name="T25" fmla="*/ 42 h 739"/>
                <a:gd name="T26" fmla="*/ 40 w 562"/>
                <a:gd name="T27" fmla="*/ 134 h 739"/>
                <a:gd name="T28" fmla="*/ 0 w 562"/>
                <a:gd name="T29" fmla="*/ 146 h 739"/>
                <a:gd name="T30" fmla="*/ 39 w 562"/>
                <a:gd name="T31" fmla="*/ 144 h 739"/>
                <a:gd name="T32" fmla="*/ 0 w 562"/>
                <a:gd name="T33" fmla="*/ 212 h 739"/>
                <a:gd name="T34" fmla="*/ 0 w 562"/>
                <a:gd name="T35" fmla="*/ 248 h 739"/>
                <a:gd name="T36" fmla="*/ 98 w 562"/>
                <a:gd name="T37" fmla="*/ 180 h 739"/>
                <a:gd name="T38" fmla="*/ 147 w 562"/>
                <a:gd name="T39" fmla="*/ 279 h 739"/>
                <a:gd name="T40" fmla="*/ 177 w 562"/>
                <a:gd name="T41" fmla="*/ 284 h 739"/>
                <a:gd name="T42" fmla="*/ 156 w 562"/>
                <a:gd name="T43" fmla="*/ 246 h 739"/>
                <a:gd name="T44" fmla="*/ 115 w 562"/>
                <a:gd name="T45" fmla="*/ 126 h 739"/>
                <a:gd name="T46" fmla="*/ 484 w 562"/>
                <a:gd name="T47" fmla="*/ 242 h 739"/>
                <a:gd name="T48" fmla="*/ 413 w 562"/>
                <a:gd name="T49" fmla="*/ 298 h 739"/>
                <a:gd name="T50" fmla="*/ 516 w 562"/>
                <a:gd name="T51" fmla="*/ 341 h 739"/>
                <a:gd name="T52" fmla="*/ 448 w 562"/>
                <a:gd name="T53" fmla="*/ 448 h 739"/>
                <a:gd name="T54" fmla="*/ 388 w 562"/>
                <a:gd name="T55" fmla="*/ 594 h 739"/>
                <a:gd name="T56" fmla="*/ 138 w 562"/>
                <a:gd name="T57" fmla="*/ 614 h 739"/>
                <a:gd name="T58" fmla="*/ 128 w 562"/>
                <a:gd name="T59" fmla="*/ 700 h 739"/>
                <a:gd name="T60" fmla="*/ 68 w 562"/>
                <a:gd name="T61" fmla="*/ 565 h 739"/>
                <a:gd name="T62" fmla="*/ 128 w 562"/>
                <a:gd name="T63" fmla="*/ 556 h 739"/>
                <a:gd name="T64" fmla="*/ 128 w 562"/>
                <a:gd name="T65" fmla="*/ 530 h 739"/>
                <a:gd name="T66" fmla="*/ 158 w 562"/>
                <a:gd name="T67" fmla="*/ 256 h 739"/>
                <a:gd name="T68" fmla="*/ 175 w 562"/>
                <a:gd name="T69" fmla="*/ 259 h 739"/>
                <a:gd name="T70" fmla="*/ 155 w 562"/>
                <a:gd name="T71" fmla="*/ 273 h 739"/>
                <a:gd name="T72" fmla="*/ 96 w 562"/>
                <a:gd name="T73" fmla="*/ 10 h 739"/>
                <a:gd name="T74" fmla="*/ 108 w 562"/>
                <a:gd name="T75" fmla="*/ 24 h 739"/>
                <a:gd name="T76" fmla="*/ 84 w 562"/>
                <a:gd name="T77" fmla="*/ 20 h 739"/>
                <a:gd name="T78" fmla="*/ 79 w 562"/>
                <a:gd name="T79" fmla="*/ 114 h 739"/>
                <a:gd name="T80" fmla="*/ 484 w 562"/>
                <a:gd name="T81" fmla="*/ 363 h 739"/>
                <a:gd name="T82" fmla="*/ 451 w 562"/>
                <a:gd name="T83" fmla="*/ 237 h 739"/>
                <a:gd name="T84" fmla="*/ 488 w 562"/>
                <a:gd name="T85" fmla="*/ 253 h 739"/>
                <a:gd name="T86" fmla="*/ 546 w 562"/>
                <a:gd name="T87" fmla="*/ 292 h 739"/>
                <a:gd name="T88" fmla="*/ 448 w 562"/>
                <a:gd name="T89" fmla="*/ 458 h 739"/>
                <a:gd name="T90" fmla="*/ 373 w 562"/>
                <a:gd name="T91" fmla="*/ 53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739">
                  <a:moveTo>
                    <a:pt x="58" y="520"/>
                  </a:moveTo>
                  <a:cubicBezTo>
                    <a:pt x="58" y="561"/>
                    <a:pt x="58" y="561"/>
                    <a:pt x="58" y="561"/>
                  </a:cubicBezTo>
                  <a:cubicBezTo>
                    <a:pt x="34" y="538"/>
                    <a:pt x="14" y="511"/>
                    <a:pt x="0" y="481"/>
                  </a:cubicBezTo>
                  <a:cubicBezTo>
                    <a:pt x="0" y="502"/>
                    <a:pt x="0" y="502"/>
                    <a:pt x="0" y="502"/>
                  </a:cubicBezTo>
                  <a:cubicBezTo>
                    <a:pt x="6" y="513"/>
                    <a:pt x="13" y="523"/>
                    <a:pt x="20" y="533"/>
                  </a:cubicBezTo>
                  <a:cubicBezTo>
                    <a:pt x="32" y="548"/>
                    <a:pt x="44" y="562"/>
                    <a:pt x="58" y="575"/>
                  </a:cubicBezTo>
                  <a:cubicBezTo>
                    <a:pt x="58" y="700"/>
                    <a:pt x="58" y="700"/>
                    <a:pt x="58" y="700"/>
                  </a:cubicBezTo>
                  <a:cubicBezTo>
                    <a:pt x="58" y="722"/>
                    <a:pt x="76" y="739"/>
                    <a:pt x="98" y="739"/>
                  </a:cubicBezTo>
                  <a:cubicBezTo>
                    <a:pt x="120" y="739"/>
                    <a:pt x="138" y="722"/>
                    <a:pt x="138" y="700"/>
                  </a:cubicBezTo>
                  <a:cubicBezTo>
                    <a:pt x="138" y="624"/>
                    <a:pt x="138" y="624"/>
                    <a:pt x="138" y="624"/>
                  </a:cubicBezTo>
                  <a:cubicBezTo>
                    <a:pt x="172" y="638"/>
                    <a:pt x="208" y="646"/>
                    <a:pt x="245" y="646"/>
                  </a:cubicBezTo>
                  <a:cubicBezTo>
                    <a:pt x="299" y="646"/>
                    <a:pt x="352" y="630"/>
                    <a:pt x="397" y="601"/>
                  </a:cubicBezTo>
                  <a:cubicBezTo>
                    <a:pt x="412" y="612"/>
                    <a:pt x="430" y="619"/>
                    <a:pt x="448" y="619"/>
                  </a:cubicBezTo>
                  <a:cubicBezTo>
                    <a:pt x="471" y="619"/>
                    <a:pt x="493" y="610"/>
                    <a:pt x="509" y="594"/>
                  </a:cubicBezTo>
                  <a:cubicBezTo>
                    <a:pt x="525" y="578"/>
                    <a:pt x="534" y="556"/>
                    <a:pt x="534" y="533"/>
                  </a:cubicBezTo>
                  <a:cubicBezTo>
                    <a:pt x="534" y="511"/>
                    <a:pt x="525" y="489"/>
                    <a:pt x="509" y="473"/>
                  </a:cubicBezTo>
                  <a:cubicBezTo>
                    <a:pt x="508" y="472"/>
                    <a:pt x="507" y="471"/>
                    <a:pt x="506" y="470"/>
                  </a:cubicBezTo>
                  <a:cubicBezTo>
                    <a:pt x="519" y="437"/>
                    <a:pt x="526" y="401"/>
                    <a:pt x="526" y="364"/>
                  </a:cubicBezTo>
                  <a:cubicBezTo>
                    <a:pt x="526" y="354"/>
                    <a:pt x="526" y="343"/>
                    <a:pt x="524" y="331"/>
                  </a:cubicBezTo>
                  <a:cubicBezTo>
                    <a:pt x="554" y="298"/>
                    <a:pt x="554" y="298"/>
                    <a:pt x="554" y="298"/>
                  </a:cubicBezTo>
                  <a:cubicBezTo>
                    <a:pt x="554" y="298"/>
                    <a:pt x="554" y="298"/>
                    <a:pt x="554" y="298"/>
                  </a:cubicBezTo>
                  <a:cubicBezTo>
                    <a:pt x="554" y="298"/>
                    <a:pt x="554" y="298"/>
                    <a:pt x="554" y="298"/>
                  </a:cubicBezTo>
                  <a:cubicBezTo>
                    <a:pt x="559" y="290"/>
                    <a:pt x="562" y="281"/>
                    <a:pt x="562" y="272"/>
                  </a:cubicBezTo>
                  <a:cubicBezTo>
                    <a:pt x="562" y="248"/>
                    <a:pt x="542" y="228"/>
                    <a:pt x="517" y="228"/>
                  </a:cubicBezTo>
                  <a:cubicBezTo>
                    <a:pt x="509" y="228"/>
                    <a:pt x="501" y="230"/>
                    <a:pt x="494" y="234"/>
                  </a:cubicBezTo>
                  <a:cubicBezTo>
                    <a:pt x="471" y="190"/>
                    <a:pt x="437" y="153"/>
                    <a:pt x="395" y="126"/>
                  </a:cubicBezTo>
                  <a:cubicBezTo>
                    <a:pt x="350" y="98"/>
                    <a:pt x="298" y="83"/>
                    <a:pt x="245" y="83"/>
                  </a:cubicBezTo>
                  <a:cubicBezTo>
                    <a:pt x="220" y="83"/>
                    <a:pt x="196" y="87"/>
                    <a:pt x="172" y="93"/>
                  </a:cubicBezTo>
                  <a:cubicBezTo>
                    <a:pt x="150" y="99"/>
                    <a:pt x="129" y="107"/>
                    <a:pt x="110" y="118"/>
                  </a:cubicBezTo>
                  <a:cubicBezTo>
                    <a:pt x="104" y="112"/>
                    <a:pt x="97" y="107"/>
                    <a:pt x="89" y="105"/>
                  </a:cubicBezTo>
                  <a:cubicBezTo>
                    <a:pt x="98" y="44"/>
                    <a:pt x="98" y="44"/>
                    <a:pt x="98" y="44"/>
                  </a:cubicBezTo>
                  <a:cubicBezTo>
                    <a:pt x="102" y="44"/>
                    <a:pt x="106" y="42"/>
                    <a:pt x="109" y="40"/>
                  </a:cubicBezTo>
                  <a:cubicBezTo>
                    <a:pt x="114" y="36"/>
                    <a:pt x="117" y="31"/>
                    <a:pt x="117" y="25"/>
                  </a:cubicBezTo>
                  <a:cubicBezTo>
                    <a:pt x="118" y="19"/>
                    <a:pt x="117" y="14"/>
                    <a:pt x="113" y="9"/>
                  </a:cubicBezTo>
                  <a:cubicBezTo>
                    <a:pt x="110" y="4"/>
                    <a:pt x="105" y="1"/>
                    <a:pt x="99" y="0"/>
                  </a:cubicBezTo>
                  <a:cubicBezTo>
                    <a:pt x="93" y="0"/>
                    <a:pt x="87" y="1"/>
                    <a:pt x="83" y="5"/>
                  </a:cubicBezTo>
                  <a:cubicBezTo>
                    <a:pt x="78" y="8"/>
                    <a:pt x="75" y="13"/>
                    <a:pt x="74" y="19"/>
                  </a:cubicBezTo>
                  <a:cubicBezTo>
                    <a:pt x="73" y="25"/>
                    <a:pt x="75" y="31"/>
                    <a:pt x="78" y="35"/>
                  </a:cubicBezTo>
                  <a:cubicBezTo>
                    <a:pt x="81" y="39"/>
                    <a:pt x="84" y="41"/>
                    <a:pt x="88" y="42"/>
                  </a:cubicBezTo>
                  <a:cubicBezTo>
                    <a:pt x="80" y="104"/>
                    <a:pt x="80" y="104"/>
                    <a:pt x="80" y="104"/>
                  </a:cubicBezTo>
                  <a:cubicBezTo>
                    <a:pt x="79" y="104"/>
                    <a:pt x="79" y="104"/>
                    <a:pt x="79" y="104"/>
                  </a:cubicBezTo>
                  <a:cubicBezTo>
                    <a:pt x="60" y="104"/>
                    <a:pt x="45" y="117"/>
                    <a:pt x="40" y="134"/>
                  </a:cubicBezTo>
                  <a:cubicBezTo>
                    <a:pt x="6" y="129"/>
                    <a:pt x="6" y="129"/>
                    <a:pt x="6" y="129"/>
                  </a:cubicBezTo>
                  <a:cubicBezTo>
                    <a:pt x="6" y="124"/>
                    <a:pt x="3" y="119"/>
                    <a:pt x="0" y="116"/>
                  </a:cubicBezTo>
                  <a:cubicBezTo>
                    <a:pt x="0" y="146"/>
                    <a:pt x="0" y="146"/>
                    <a:pt x="0" y="146"/>
                  </a:cubicBezTo>
                  <a:cubicBezTo>
                    <a:pt x="2" y="144"/>
                    <a:pt x="4" y="141"/>
                    <a:pt x="5" y="139"/>
                  </a:cubicBezTo>
                  <a:cubicBezTo>
                    <a:pt x="39" y="143"/>
                    <a:pt x="39" y="143"/>
                    <a:pt x="39" y="143"/>
                  </a:cubicBezTo>
                  <a:cubicBezTo>
                    <a:pt x="39" y="144"/>
                    <a:pt x="39" y="144"/>
                    <a:pt x="39" y="144"/>
                  </a:cubicBezTo>
                  <a:cubicBezTo>
                    <a:pt x="39" y="152"/>
                    <a:pt x="41" y="159"/>
                    <a:pt x="45" y="165"/>
                  </a:cubicBezTo>
                  <a:cubicBezTo>
                    <a:pt x="0" y="200"/>
                    <a:pt x="0" y="200"/>
                    <a:pt x="0" y="200"/>
                  </a:cubicBezTo>
                  <a:cubicBezTo>
                    <a:pt x="0" y="212"/>
                    <a:pt x="0" y="212"/>
                    <a:pt x="0" y="212"/>
                  </a:cubicBezTo>
                  <a:cubicBezTo>
                    <a:pt x="20" y="196"/>
                    <a:pt x="20" y="196"/>
                    <a:pt x="20" y="196"/>
                  </a:cubicBezTo>
                  <a:cubicBezTo>
                    <a:pt x="12" y="206"/>
                    <a:pt x="6" y="216"/>
                    <a:pt x="0" y="227"/>
                  </a:cubicBezTo>
                  <a:cubicBezTo>
                    <a:pt x="0" y="248"/>
                    <a:pt x="0" y="248"/>
                    <a:pt x="0" y="248"/>
                  </a:cubicBezTo>
                  <a:cubicBezTo>
                    <a:pt x="13" y="221"/>
                    <a:pt x="30" y="196"/>
                    <a:pt x="52" y="174"/>
                  </a:cubicBezTo>
                  <a:cubicBezTo>
                    <a:pt x="59" y="180"/>
                    <a:pt x="69" y="184"/>
                    <a:pt x="79" y="184"/>
                  </a:cubicBezTo>
                  <a:cubicBezTo>
                    <a:pt x="86" y="184"/>
                    <a:pt x="92" y="183"/>
                    <a:pt x="98" y="180"/>
                  </a:cubicBezTo>
                  <a:cubicBezTo>
                    <a:pt x="149" y="252"/>
                    <a:pt x="149" y="252"/>
                    <a:pt x="149" y="252"/>
                  </a:cubicBezTo>
                  <a:cubicBezTo>
                    <a:pt x="146" y="255"/>
                    <a:pt x="144" y="258"/>
                    <a:pt x="143" y="263"/>
                  </a:cubicBezTo>
                  <a:cubicBezTo>
                    <a:pt x="142" y="268"/>
                    <a:pt x="143" y="274"/>
                    <a:pt x="147" y="279"/>
                  </a:cubicBezTo>
                  <a:cubicBezTo>
                    <a:pt x="150" y="284"/>
                    <a:pt x="155" y="287"/>
                    <a:pt x="161" y="288"/>
                  </a:cubicBezTo>
                  <a:cubicBezTo>
                    <a:pt x="162" y="288"/>
                    <a:pt x="163" y="288"/>
                    <a:pt x="165" y="288"/>
                  </a:cubicBezTo>
                  <a:cubicBezTo>
                    <a:pt x="169" y="288"/>
                    <a:pt x="174" y="287"/>
                    <a:pt x="177" y="284"/>
                  </a:cubicBezTo>
                  <a:cubicBezTo>
                    <a:pt x="187" y="277"/>
                    <a:pt x="189" y="264"/>
                    <a:pt x="183" y="254"/>
                  </a:cubicBezTo>
                  <a:cubicBezTo>
                    <a:pt x="179" y="249"/>
                    <a:pt x="174" y="246"/>
                    <a:pt x="168" y="245"/>
                  </a:cubicBezTo>
                  <a:cubicBezTo>
                    <a:pt x="164" y="244"/>
                    <a:pt x="160" y="245"/>
                    <a:pt x="156" y="246"/>
                  </a:cubicBezTo>
                  <a:cubicBezTo>
                    <a:pt x="106" y="174"/>
                    <a:pt x="106" y="174"/>
                    <a:pt x="106" y="174"/>
                  </a:cubicBezTo>
                  <a:cubicBezTo>
                    <a:pt x="114" y="167"/>
                    <a:pt x="119" y="156"/>
                    <a:pt x="119" y="144"/>
                  </a:cubicBezTo>
                  <a:cubicBezTo>
                    <a:pt x="119" y="138"/>
                    <a:pt x="118" y="132"/>
                    <a:pt x="115" y="126"/>
                  </a:cubicBezTo>
                  <a:cubicBezTo>
                    <a:pt x="155" y="104"/>
                    <a:pt x="200" y="93"/>
                    <a:pt x="245" y="93"/>
                  </a:cubicBezTo>
                  <a:cubicBezTo>
                    <a:pt x="347" y="93"/>
                    <a:pt x="439" y="149"/>
                    <a:pt x="486" y="240"/>
                  </a:cubicBezTo>
                  <a:cubicBezTo>
                    <a:pt x="485" y="240"/>
                    <a:pt x="485" y="241"/>
                    <a:pt x="484" y="242"/>
                  </a:cubicBezTo>
                  <a:cubicBezTo>
                    <a:pt x="475" y="233"/>
                    <a:pt x="463" y="228"/>
                    <a:pt x="451" y="228"/>
                  </a:cubicBezTo>
                  <a:cubicBezTo>
                    <a:pt x="426" y="228"/>
                    <a:pt x="406" y="248"/>
                    <a:pt x="406" y="272"/>
                  </a:cubicBezTo>
                  <a:cubicBezTo>
                    <a:pt x="406" y="281"/>
                    <a:pt x="408" y="290"/>
                    <a:pt x="413" y="298"/>
                  </a:cubicBezTo>
                  <a:cubicBezTo>
                    <a:pt x="414" y="298"/>
                    <a:pt x="414" y="298"/>
                    <a:pt x="414" y="298"/>
                  </a:cubicBezTo>
                  <a:cubicBezTo>
                    <a:pt x="484" y="377"/>
                    <a:pt x="484" y="377"/>
                    <a:pt x="484" y="377"/>
                  </a:cubicBezTo>
                  <a:cubicBezTo>
                    <a:pt x="516" y="341"/>
                    <a:pt x="516" y="341"/>
                    <a:pt x="516" y="341"/>
                  </a:cubicBezTo>
                  <a:cubicBezTo>
                    <a:pt x="516" y="349"/>
                    <a:pt x="517" y="357"/>
                    <a:pt x="517" y="364"/>
                  </a:cubicBezTo>
                  <a:cubicBezTo>
                    <a:pt x="517" y="399"/>
                    <a:pt x="510" y="432"/>
                    <a:pt x="498" y="464"/>
                  </a:cubicBezTo>
                  <a:cubicBezTo>
                    <a:pt x="484" y="454"/>
                    <a:pt x="466" y="448"/>
                    <a:pt x="448" y="448"/>
                  </a:cubicBezTo>
                  <a:cubicBezTo>
                    <a:pt x="426" y="448"/>
                    <a:pt x="404" y="457"/>
                    <a:pt x="388" y="473"/>
                  </a:cubicBezTo>
                  <a:cubicBezTo>
                    <a:pt x="372" y="489"/>
                    <a:pt x="363" y="511"/>
                    <a:pt x="363" y="533"/>
                  </a:cubicBezTo>
                  <a:cubicBezTo>
                    <a:pt x="363" y="556"/>
                    <a:pt x="372" y="578"/>
                    <a:pt x="388" y="594"/>
                  </a:cubicBezTo>
                  <a:cubicBezTo>
                    <a:pt x="389" y="595"/>
                    <a:pt x="389" y="595"/>
                    <a:pt x="389" y="595"/>
                  </a:cubicBezTo>
                  <a:cubicBezTo>
                    <a:pt x="346" y="622"/>
                    <a:pt x="296" y="636"/>
                    <a:pt x="245" y="636"/>
                  </a:cubicBezTo>
                  <a:cubicBezTo>
                    <a:pt x="208" y="636"/>
                    <a:pt x="172" y="629"/>
                    <a:pt x="138" y="614"/>
                  </a:cubicBezTo>
                  <a:cubicBezTo>
                    <a:pt x="138" y="520"/>
                    <a:pt x="138" y="520"/>
                    <a:pt x="138" y="520"/>
                  </a:cubicBezTo>
                  <a:lnTo>
                    <a:pt x="58" y="520"/>
                  </a:lnTo>
                  <a:close/>
                  <a:moveTo>
                    <a:pt x="128" y="700"/>
                  </a:moveTo>
                  <a:cubicBezTo>
                    <a:pt x="128" y="716"/>
                    <a:pt x="115" y="730"/>
                    <a:pt x="98" y="730"/>
                  </a:cubicBezTo>
                  <a:cubicBezTo>
                    <a:pt x="81" y="730"/>
                    <a:pt x="68" y="716"/>
                    <a:pt x="68" y="700"/>
                  </a:cubicBezTo>
                  <a:cubicBezTo>
                    <a:pt x="68" y="565"/>
                    <a:pt x="68" y="565"/>
                    <a:pt x="68" y="565"/>
                  </a:cubicBezTo>
                  <a:cubicBezTo>
                    <a:pt x="128" y="565"/>
                    <a:pt x="128" y="565"/>
                    <a:pt x="128" y="565"/>
                  </a:cubicBezTo>
                  <a:lnTo>
                    <a:pt x="128" y="700"/>
                  </a:lnTo>
                  <a:close/>
                  <a:moveTo>
                    <a:pt x="128" y="556"/>
                  </a:moveTo>
                  <a:cubicBezTo>
                    <a:pt x="68" y="556"/>
                    <a:pt x="68" y="556"/>
                    <a:pt x="68" y="556"/>
                  </a:cubicBezTo>
                  <a:cubicBezTo>
                    <a:pt x="68" y="530"/>
                    <a:pt x="68" y="530"/>
                    <a:pt x="68" y="530"/>
                  </a:cubicBezTo>
                  <a:cubicBezTo>
                    <a:pt x="128" y="530"/>
                    <a:pt x="128" y="530"/>
                    <a:pt x="128" y="530"/>
                  </a:cubicBezTo>
                  <a:lnTo>
                    <a:pt x="128" y="556"/>
                  </a:lnTo>
                  <a:close/>
                  <a:moveTo>
                    <a:pt x="153" y="264"/>
                  </a:moveTo>
                  <a:cubicBezTo>
                    <a:pt x="153" y="261"/>
                    <a:pt x="155" y="258"/>
                    <a:pt x="158" y="256"/>
                  </a:cubicBezTo>
                  <a:cubicBezTo>
                    <a:pt x="160" y="255"/>
                    <a:pt x="162" y="254"/>
                    <a:pt x="165" y="254"/>
                  </a:cubicBezTo>
                  <a:cubicBezTo>
                    <a:pt x="165" y="254"/>
                    <a:pt x="166" y="254"/>
                    <a:pt x="167" y="254"/>
                  </a:cubicBezTo>
                  <a:cubicBezTo>
                    <a:pt x="170" y="255"/>
                    <a:pt x="173" y="257"/>
                    <a:pt x="175" y="259"/>
                  </a:cubicBezTo>
                  <a:cubicBezTo>
                    <a:pt x="179" y="265"/>
                    <a:pt x="177" y="272"/>
                    <a:pt x="172" y="276"/>
                  </a:cubicBezTo>
                  <a:cubicBezTo>
                    <a:pt x="169" y="278"/>
                    <a:pt x="166" y="279"/>
                    <a:pt x="163" y="278"/>
                  </a:cubicBezTo>
                  <a:cubicBezTo>
                    <a:pt x="159" y="278"/>
                    <a:pt x="157" y="276"/>
                    <a:pt x="155" y="273"/>
                  </a:cubicBezTo>
                  <a:cubicBezTo>
                    <a:pt x="153" y="271"/>
                    <a:pt x="152" y="267"/>
                    <a:pt x="153" y="264"/>
                  </a:cubicBezTo>
                  <a:close/>
                  <a:moveTo>
                    <a:pt x="84" y="20"/>
                  </a:moveTo>
                  <a:cubicBezTo>
                    <a:pt x="85" y="14"/>
                    <a:pt x="90" y="10"/>
                    <a:pt x="96" y="10"/>
                  </a:cubicBezTo>
                  <a:cubicBezTo>
                    <a:pt x="96" y="10"/>
                    <a:pt x="97" y="10"/>
                    <a:pt x="98" y="10"/>
                  </a:cubicBezTo>
                  <a:cubicBezTo>
                    <a:pt x="101" y="10"/>
                    <a:pt x="104" y="12"/>
                    <a:pt x="106" y="15"/>
                  </a:cubicBezTo>
                  <a:cubicBezTo>
                    <a:pt x="108" y="17"/>
                    <a:pt x="108" y="21"/>
                    <a:pt x="108" y="24"/>
                  </a:cubicBezTo>
                  <a:cubicBezTo>
                    <a:pt x="107" y="27"/>
                    <a:pt x="106" y="30"/>
                    <a:pt x="103" y="32"/>
                  </a:cubicBezTo>
                  <a:cubicBezTo>
                    <a:pt x="101" y="34"/>
                    <a:pt x="97" y="35"/>
                    <a:pt x="94" y="34"/>
                  </a:cubicBezTo>
                  <a:cubicBezTo>
                    <a:pt x="88" y="33"/>
                    <a:pt x="83" y="27"/>
                    <a:pt x="84" y="20"/>
                  </a:cubicBezTo>
                  <a:close/>
                  <a:moveTo>
                    <a:pt x="79" y="175"/>
                  </a:moveTo>
                  <a:cubicBezTo>
                    <a:pt x="62" y="175"/>
                    <a:pt x="48" y="161"/>
                    <a:pt x="48" y="144"/>
                  </a:cubicBezTo>
                  <a:cubicBezTo>
                    <a:pt x="48" y="127"/>
                    <a:pt x="62" y="114"/>
                    <a:pt x="79" y="114"/>
                  </a:cubicBezTo>
                  <a:cubicBezTo>
                    <a:pt x="96" y="114"/>
                    <a:pt x="109" y="127"/>
                    <a:pt x="109" y="144"/>
                  </a:cubicBezTo>
                  <a:cubicBezTo>
                    <a:pt x="109" y="161"/>
                    <a:pt x="96" y="175"/>
                    <a:pt x="79" y="175"/>
                  </a:cubicBezTo>
                  <a:close/>
                  <a:moveTo>
                    <a:pt x="484" y="363"/>
                  </a:moveTo>
                  <a:cubicBezTo>
                    <a:pt x="421" y="292"/>
                    <a:pt x="421" y="292"/>
                    <a:pt x="421" y="292"/>
                  </a:cubicBezTo>
                  <a:cubicBezTo>
                    <a:pt x="417" y="286"/>
                    <a:pt x="415" y="279"/>
                    <a:pt x="415" y="272"/>
                  </a:cubicBezTo>
                  <a:cubicBezTo>
                    <a:pt x="415" y="253"/>
                    <a:pt x="431" y="237"/>
                    <a:pt x="451" y="237"/>
                  </a:cubicBezTo>
                  <a:cubicBezTo>
                    <a:pt x="462" y="237"/>
                    <a:pt x="473" y="243"/>
                    <a:pt x="480" y="253"/>
                  </a:cubicBezTo>
                  <a:cubicBezTo>
                    <a:pt x="484" y="259"/>
                    <a:pt x="484" y="259"/>
                    <a:pt x="484" y="259"/>
                  </a:cubicBezTo>
                  <a:cubicBezTo>
                    <a:pt x="488" y="253"/>
                    <a:pt x="488" y="253"/>
                    <a:pt x="488" y="253"/>
                  </a:cubicBezTo>
                  <a:cubicBezTo>
                    <a:pt x="494" y="243"/>
                    <a:pt x="505" y="237"/>
                    <a:pt x="517" y="237"/>
                  </a:cubicBezTo>
                  <a:cubicBezTo>
                    <a:pt x="536" y="237"/>
                    <a:pt x="552" y="253"/>
                    <a:pt x="552" y="272"/>
                  </a:cubicBezTo>
                  <a:cubicBezTo>
                    <a:pt x="552" y="279"/>
                    <a:pt x="550" y="286"/>
                    <a:pt x="546" y="292"/>
                  </a:cubicBezTo>
                  <a:lnTo>
                    <a:pt x="484" y="363"/>
                  </a:lnTo>
                  <a:close/>
                  <a:moveTo>
                    <a:pt x="373" y="533"/>
                  </a:moveTo>
                  <a:cubicBezTo>
                    <a:pt x="373" y="492"/>
                    <a:pt x="407" y="458"/>
                    <a:pt x="448" y="458"/>
                  </a:cubicBezTo>
                  <a:cubicBezTo>
                    <a:pt x="490" y="458"/>
                    <a:pt x="524" y="492"/>
                    <a:pt x="524" y="533"/>
                  </a:cubicBezTo>
                  <a:cubicBezTo>
                    <a:pt x="524" y="575"/>
                    <a:pt x="490" y="609"/>
                    <a:pt x="448" y="609"/>
                  </a:cubicBezTo>
                  <a:cubicBezTo>
                    <a:pt x="407" y="609"/>
                    <a:pt x="373" y="575"/>
                    <a:pt x="373" y="5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1" name="TextBox 20"/>
          <p:cNvSpPr txBox="1"/>
          <p:nvPr/>
        </p:nvSpPr>
        <p:spPr bwMode="gray">
          <a:xfrm>
            <a:off x="7296940" y="6466850"/>
            <a:ext cx="4251323" cy="166255"/>
          </a:xfrm>
          <a:prstGeom prst="rect">
            <a:avLst/>
          </a:prstGeom>
          <a:noFill/>
        </p:spPr>
        <p:txBody>
          <a:bodyPr vert="horz" wrap="none" lIns="0" tIns="0" rIns="0" bIns="0" rtlCol="0">
            <a:noAutofit/>
          </a:bodyPr>
          <a:lstStyle/>
          <a:p>
            <a:r>
              <a:rPr lang="en-US" sz="1100" dirty="0">
                <a:solidFill>
                  <a:schemeClr val="lt1"/>
                </a:solidFill>
              </a:rPr>
              <a:t>Figure 3: Share of stable, new and redundant roles, 2018 vs. 2022 (projected)</a:t>
            </a:r>
            <a:br>
              <a:rPr lang="en-US" sz="1100" dirty="0">
                <a:solidFill>
                  <a:schemeClr val="lt1"/>
                </a:solidFill>
              </a:rPr>
            </a:br>
            <a:r>
              <a:rPr lang="en-US" sz="1100" dirty="0">
                <a:solidFill>
                  <a:schemeClr val="lt1"/>
                </a:solidFill>
              </a:rPr>
              <a:t>Source: Future of Jobs Survey 2018, World Economic Forum</a:t>
            </a:r>
          </a:p>
          <a:p>
            <a:endParaRPr lang="en-US" sz="1100" dirty="0">
              <a:solidFill>
                <a:schemeClr val="lt1"/>
              </a:solidFill>
            </a:endParaRPr>
          </a:p>
        </p:txBody>
      </p:sp>
      <p:pic>
        <p:nvPicPr>
          <p:cNvPr id="22" name="Content Placeholder 10"/>
          <p:cNvPicPr>
            <a:picLocks noChangeAspect="1"/>
          </p:cNvPicPr>
          <p:nvPr/>
        </p:nvPicPr>
        <p:blipFill rotWithShape="1">
          <a:blip r:embed="rId3">
            <a:extLst>
              <a:ext uri="{28A0092B-C50C-407E-A947-70E740481C1C}">
                <a14:useLocalDpi xmlns:a14="http://schemas.microsoft.com/office/drawing/2010/main" val="0"/>
              </a:ext>
            </a:extLst>
          </a:blip>
          <a:srcRect b="50584"/>
          <a:stretch/>
        </p:blipFill>
        <p:spPr bwMode="gray">
          <a:xfrm>
            <a:off x="1268424" y="1524580"/>
            <a:ext cx="4511733" cy="4680000"/>
          </a:xfrm>
          <a:prstGeom prst="rect">
            <a:avLst/>
          </a:prstGeom>
        </p:spPr>
      </p:pic>
      <p:pic>
        <p:nvPicPr>
          <p:cNvPr id="23" name="Content Placeholder 10"/>
          <p:cNvPicPr>
            <a:picLocks noChangeAspect="1"/>
          </p:cNvPicPr>
          <p:nvPr/>
        </p:nvPicPr>
        <p:blipFill rotWithShape="1">
          <a:blip r:embed="rId3">
            <a:extLst>
              <a:ext uri="{28A0092B-C50C-407E-A947-70E740481C1C}">
                <a14:useLocalDpi xmlns:a14="http://schemas.microsoft.com/office/drawing/2010/main" val="0"/>
              </a:ext>
            </a:extLst>
          </a:blip>
          <a:srcRect t="50000"/>
          <a:stretch/>
        </p:blipFill>
        <p:spPr bwMode="gray">
          <a:xfrm>
            <a:off x="6759159" y="1401748"/>
            <a:ext cx="4459012" cy="4680000"/>
          </a:xfrm>
          <a:prstGeom prst="rect">
            <a:avLst/>
          </a:prstGeom>
        </p:spPr>
      </p:pic>
    </p:spTree>
    <p:extLst>
      <p:ext uri="{BB962C8B-B14F-4D97-AF65-F5344CB8AC3E}">
        <p14:creationId xmlns:p14="http://schemas.microsoft.com/office/powerpoint/2010/main" val="35972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9">
            <a:extLst>
              <a:ext uri="{FF2B5EF4-FFF2-40B4-BE49-F238E27FC236}">
                <a16:creationId xmlns:a16="http://schemas.microsoft.com/office/drawing/2014/main" xmlns="" id="{475CC97F-6934-47BE-A235-2E86251F1859}"/>
              </a:ext>
            </a:extLst>
          </p:cNvPr>
          <p:cNvSpPr/>
          <p:nvPr/>
        </p:nvSpPr>
        <p:spPr bwMode="gray">
          <a:xfrm>
            <a:off x="1438274" y="-13708"/>
            <a:ext cx="10768239" cy="6884177"/>
          </a:xfrm>
          <a:prstGeom prst="rect">
            <a:avLst/>
          </a:prstGeom>
          <a:solidFill>
            <a:srgbClr val="004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74" name="Rechteck 6">
            <a:extLst>
              <a:ext uri="{FF2B5EF4-FFF2-40B4-BE49-F238E27FC236}">
                <a16:creationId xmlns:a16="http://schemas.microsoft.com/office/drawing/2014/main" xmlns="" id="{9B83B1FB-BDB8-4C4D-B2F0-A78CE31CF8CB}"/>
              </a:ext>
            </a:extLst>
          </p:cNvPr>
          <p:cNvSpPr/>
          <p:nvPr/>
        </p:nvSpPr>
        <p:spPr bwMode="auto">
          <a:xfrm flipH="1" flipV="1">
            <a:off x="-2296" y="-12262"/>
            <a:ext cx="8039518" cy="6882565"/>
          </a:xfrm>
          <a:custGeom>
            <a:avLst/>
            <a:gdLst/>
            <a:ahLst/>
            <a:cxnLst/>
            <a:rect l="l" t="t" r="r" b="b"/>
            <a:pathLst>
              <a:path w="7787099" h="6882565">
                <a:moveTo>
                  <a:pt x="0" y="6882565"/>
                </a:moveTo>
                <a:lnTo>
                  <a:pt x="2976133" y="0"/>
                </a:lnTo>
                <a:lnTo>
                  <a:pt x="7787099" y="0"/>
                </a:lnTo>
                <a:lnTo>
                  <a:pt x="6553534" y="6879896"/>
                </a:lnTo>
                <a:close/>
              </a:path>
            </a:pathLst>
          </a:custGeom>
          <a:gradFill flip="none" rotWithShape="1">
            <a:gsLst>
              <a:gs pos="0">
                <a:srgbClr val="005A7A"/>
              </a:gs>
              <a:gs pos="100000">
                <a:srgbClr val="0090C5">
                  <a:lumMod val="50000"/>
                </a:srgbClr>
              </a:gs>
            </a:gsLst>
            <a:lin ang="162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defTabSz="1221456">
              <a:defRPr/>
            </a:pPr>
            <a:endParaRPr lang="de-DE" sz="2400" kern="0" dirty="0" err="1">
              <a:solidFill>
                <a:srgbClr val="4D4D4D"/>
              </a:solidFill>
            </a:endParaRPr>
          </a:p>
        </p:txBody>
      </p:sp>
      <p:sp>
        <p:nvSpPr>
          <p:cNvPr id="7" name="Titel 6">
            <a:extLst>
              <a:ext uri="{FF2B5EF4-FFF2-40B4-BE49-F238E27FC236}">
                <a16:creationId xmlns:a16="http://schemas.microsoft.com/office/drawing/2014/main" xmlns="" id="{7D5BD909-61B7-4F8E-B2F9-C0CE944E0A79}"/>
              </a:ext>
            </a:extLst>
          </p:cNvPr>
          <p:cNvSpPr>
            <a:spLocks noGrp="1"/>
          </p:cNvSpPr>
          <p:nvPr>
            <p:ph type="title"/>
          </p:nvPr>
        </p:nvSpPr>
        <p:spPr/>
        <p:txBody>
          <a:bodyPr/>
          <a:lstStyle/>
          <a:p>
            <a:r>
              <a:rPr lang="en-US" b="1" dirty="0">
                <a:solidFill>
                  <a:srgbClr val="FFFFFF"/>
                </a:solidFill>
              </a:rPr>
              <a:t>The Future of Jobs Report 2018 – World Economic Forum</a:t>
            </a:r>
            <a:br>
              <a:rPr lang="en-US" b="1" dirty="0">
                <a:solidFill>
                  <a:srgbClr val="FFFFFF"/>
                </a:solidFill>
              </a:rPr>
            </a:br>
            <a:r>
              <a:rPr lang="en-US" sz="2000" dirty="0">
                <a:solidFill>
                  <a:schemeClr val="lt1"/>
                </a:solidFill>
              </a:rPr>
              <a:t>The external trends clearly show the urgent need for learning new skills and capabilities</a:t>
            </a:r>
            <a:endParaRPr lang="en-US" sz="2000" b="1" dirty="0">
              <a:solidFill>
                <a:schemeClr val="lt1"/>
              </a:solidFill>
            </a:endParaRPr>
          </a:p>
        </p:txBody>
      </p:sp>
      <p:sp>
        <p:nvSpPr>
          <p:cNvPr id="2" name="Fußzeilenplatzhalter 1">
            <a:extLst>
              <a:ext uri="{FF2B5EF4-FFF2-40B4-BE49-F238E27FC236}">
                <a16:creationId xmlns:a16="http://schemas.microsoft.com/office/drawing/2014/main" xmlns="" id="{EF2F8EE4-4E4D-442C-95B9-B6B4DEB71CA2}"/>
              </a:ext>
            </a:extLst>
          </p:cNvPr>
          <p:cNvSpPr>
            <a:spLocks noGrp="1"/>
          </p:cNvSpPr>
          <p:nvPr>
            <p:ph type="ftr" sz="quarter" idx="16"/>
          </p:nvPr>
        </p:nvSpPr>
        <p:spPr/>
        <p:txBody>
          <a:bodyPr/>
          <a:lstStyle/>
          <a:p>
            <a:r>
              <a:rPr lang="en-US" dirty="0">
                <a:solidFill>
                  <a:srgbClr val="FFFFFF"/>
                </a:solidFill>
              </a:rPr>
              <a:t>/// Advancing Digital  at Bayer /// Data as an Asset Convention ///  September 2019</a:t>
            </a:r>
          </a:p>
        </p:txBody>
      </p:sp>
      <p:sp>
        <p:nvSpPr>
          <p:cNvPr id="3" name="Foliennummernplatzhalter 2">
            <a:extLst>
              <a:ext uri="{FF2B5EF4-FFF2-40B4-BE49-F238E27FC236}">
                <a16:creationId xmlns:a16="http://schemas.microsoft.com/office/drawing/2014/main" xmlns="" id="{8409A87D-B088-447E-80CA-B9AEB32142A0}"/>
              </a:ext>
            </a:extLst>
          </p:cNvPr>
          <p:cNvSpPr>
            <a:spLocks noGrp="1"/>
          </p:cNvSpPr>
          <p:nvPr>
            <p:ph type="sldNum" sz="quarter" idx="17"/>
          </p:nvPr>
        </p:nvSpPr>
        <p:spPr/>
        <p:txBody>
          <a:bodyPr/>
          <a:lstStyle/>
          <a:p>
            <a:fld id="{EEAD9179-7A6B-4268-BEB2-F3B8EB06115B}" type="slidenum">
              <a:rPr lang="en-US" smtClean="0">
                <a:solidFill>
                  <a:srgbClr val="00BCFF"/>
                </a:solidFill>
              </a:rPr>
              <a:pPr/>
              <a:t>5</a:t>
            </a:fld>
            <a:endParaRPr lang="en-US" dirty="0">
              <a:solidFill>
                <a:srgbClr val="00BCFF"/>
              </a:solidFill>
            </a:endParaRPr>
          </a:p>
        </p:txBody>
      </p:sp>
      <p:grpSp>
        <p:nvGrpSpPr>
          <p:cNvPr id="140" name="Gruppieren 139">
            <a:extLst>
              <a:ext uri="{FF2B5EF4-FFF2-40B4-BE49-F238E27FC236}">
                <a16:creationId xmlns:a16="http://schemas.microsoft.com/office/drawing/2014/main" xmlns="" id="{693FF34E-9AFA-46A7-9E57-368571AA9DFA}"/>
              </a:ext>
            </a:extLst>
          </p:cNvPr>
          <p:cNvGrpSpPr/>
          <p:nvPr/>
        </p:nvGrpSpPr>
        <p:grpSpPr>
          <a:xfrm>
            <a:off x="-2151" y="1189995"/>
            <a:ext cx="998538" cy="1546225"/>
            <a:chOff x="-2151" y="1189995"/>
            <a:chExt cx="998538" cy="1546225"/>
          </a:xfrm>
        </p:grpSpPr>
        <p:sp>
          <p:nvSpPr>
            <p:cNvPr id="141" name="Freeform 6">
              <a:extLst>
                <a:ext uri="{FF2B5EF4-FFF2-40B4-BE49-F238E27FC236}">
                  <a16:creationId xmlns:a16="http://schemas.microsoft.com/office/drawing/2014/main" xmlns="" id="{A2BCDCDB-5F91-4B5E-B8B1-E7426BAAE111}"/>
                </a:ext>
              </a:extLst>
            </p:cNvPr>
            <p:cNvSpPr>
              <a:spLocks/>
            </p:cNvSpPr>
            <p:nvPr/>
          </p:nvSpPr>
          <p:spPr bwMode="auto">
            <a:xfrm>
              <a:off x="-2151" y="2610807"/>
              <a:ext cx="788988" cy="125413"/>
            </a:xfrm>
            <a:custGeom>
              <a:avLst/>
              <a:gdLst>
                <a:gd name="T0" fmla="*/ 245 w 494"/>
                <a:gd name="T1" fmla="*/ 70 h 79"/>
                <a:gd name="T2" fmla="*/ 0 w 494"/>
                <a:gd name="T3" fmla="*/ 2 h 79"/>
                <a:gd name="T4" fmla="*/ 0 w 494"/>
                <a:gd name="T5" fmla="*/ 13 h 79"/>
                <a:gd name="T6" fmla="*/ 56 w 494"/>
                <a:gd name="T7" fmla="*/ 41 h 79"/>
                <a:gd name="T8" fmla="*/ 147 w 494"/>
                <a:gd name="T9" fmla="*/ 69 h 79"/>
                <a:gd name="T10" fmla="*/ 245 w 494"/>
                <a:gd name="T11" fmla="*/ 79 h 79"/>
                <a:gd name="T12" fmla="*/ 343 w 494"/>
                <a:gd name="T13" fmla="*/ 69 h 79"/>
                <a:gd name="T14" fmla="*/ 435 w 494"/>
                <a:gd name="T15" fmla="*/ 41 h 79"/>
                <a:gd name="T16" fmla="*/ 492 w 494"/>
                <a:gd name="T17" fmla="*/ 12 h 79"/>
                <a:gd name="T18" fmla="*/ 494 w 494"/>
                <a:gd name="T19" fmla="*/ 0 h 79"/>
                <a:gd name="T20" fmla="*/ 245 w 494"/>
                <a:gd name="T2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9">
                  <a:moveTo>
                    <a:pt x="245" y="70"/>
                  </a:moveTo>
                  <a:cubicBezTo>
                    <a:pt x="156" y="70"/>
                    <a:pt x="72" y="45"/>
                    <a:pt x="0" y="2"/>
                  </a:cubicBezTo>
                  <a:cubicBezTo>
                    <a:pt x="0" y="13"/>
                    <a:pt x="0" y="13"/>
                    <a:pt x="0" y="13"/>
                  </a:cubicBezTo>
                  <a:cubicBezTo>
                    <a:pt x="18" y="24"/>
                    <a:pt x="37" y="33"/>
                    <a:pt x="56" y="41"/>
                  </a:cubicBezTo>
                  <a:cubicBezTo>
                    <a:pt x="85" y="54"/>
                    <a:pt x="116" y="63"/>
                    <a:pt x="147" y="69"/>
                  </a:cubicBezTo>
                  <a:cubicBezTo>
                    <a:pt x="179" y="76"/>
                    <a:pt x="212" y="79"/>
                    <a:pt x="245" y="79"/>
                  </a:cubicBezTo>
                  <a:cubicBezTo>
                    <a:pt x="278" y="79"/>
                    <a:pt x="311" y="76"/>
                    <a:pt x="343" y="69"/>
                  </a:cubicBezTo>
                  <a:cubicBezTo>
                    <a:pt x="375" y="63"/>
                    <a:pt x="405" y="54"/>
                    <a:pt x="435" y="41"/>
                  </a:cubicBezTo>
                  <a:cubicBezTo>
                    <a:pt x="454" y="33"/>
                    <a:pt x="473" y="23"/>
                    <a:pt x="492" y="12"/>
                  </a:cubicBezTo>
                  <a:cubicBezTo>
                    <a:pt x="494" y="0"/>
                    <a:pt x="494" y="0"/>
                    <a:pt x="494" y="0"/>
                  </a:cubicBezTo>
                  <a:cubicBezTo>
                    <a:pt x="421" y="44"/>
                    <a:pt x="336" y="70"/>
                    <a:pt x="245"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2" name="Freeform 7">
              <a:extLst>
                <a:ext uri="{FF2B5EF4-FFF2-40B4-BE49-F238E27FC236}">
                  <a16:creationId xmlns:a16="http://schemas.microsoft.com/office/drawing/2014/main" xmlns="" id="{0F67D967-272A-43C9-A84D-5D3CF66A0D66}"/>
                </a:ext>
              </a:extLst>
            </p:cNvPr>
            <p:cNvSpPr>
              <a:spLocks/>
            </p:cNvSpPr>
            <p:nvPr/>
          </p:nvSpPr>
          <p:spPr bwMode="auto">
            <a:xfrm>
              <a:off x="-2151" y="1189995"/>
              <a:ext cx="998538" cy="311150"/>
            </a:xfrm>
            <a:custGeom>
              <a:avLst/>
              <a:gdLst>
                <a:gd name="T0" fmla="*/ 517 w 626"/>
                <a:gd name="T1" fmla="*/ 83 h 196"/>
                <a:gd name="T2" fmla="*/ 435 w 626"/>
                <a:gd name="T3" fmla="*/ 38 h 196"/>
                <a:gd name="T4" fmla="*/ 343 w 626"/>
                <a:gd name="T5" fmla="*/ 9 h 196"/>
                <a:gd name="T6" fmla="*/ 245 w 626"/>
                <a:gd name="T7" fmla="*/ 0 h 196"/>
                <a:gd name="T8" fmla="*/ 147 w 626"/>
                <a:gd name="T9" fmla="*/ 9 h 196"/>
                <a:gd name="T10" fmla="*/ 56 w 626"/>
                <a:gd name="T11" fmla="*/ 38 h 196"/>
                <a:gd name="T12" fmla="*/ 0 w 626"/>
                <a:gd name="T13" fmla="*/ 66 h 196"/>
                <a:gd name="T14" fmla="*/ 0 w 626"/>
                <a:gd name="T15" fmla="*/ 77 h 196"/>
                <a:gd name="T16" fmla="*/ 245 w 626"/>
                <a:gd name="T17" fmla="*/ 9 h 196"/>
                <a:gd name="T18" fmla="*/ 623 w 626"/>
                <a:gd name="T19" fmla="*/ 196 h 196"/>
                <a:gd name="T20" fmla="*/ 626 w 626"/>
                <a:gd name="T21" fmla="*/ 183 h 196"/>
                <a:gd name="T22" fmla="*/ 589 w 626"/>
                <a:gd name="T23" fmla="*/ 142 h 196"/>
                <a:gd name="T24" fmla="*/ 517 w 626"/>
                <a:gd name="T25" fmla="*/ 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6" h="196">
                  <a:moveTo>
                    <a:pt x="517" y="83"/>
                  </a:moveTo>
                  <a:cubicBezTo>
                    <a:pt x="491" y="65"/>
                    <a:pt x="464" y="50"/>
                    <a:pt x="435" y="38"/>
                  </a:cubicBezTo>
                  <a:cubicBezTo>
                    <a:pt x="405" y="25"/>
                    <a:pt x="375" y="16"/>
                    <a:pt x="343" y="9"/>
                  </a:cubicBezTo>
                  <a:cubicBezTo>
                    <a:pt x="311" y="3"/>
                    <a:pt x="278" y="0"/>
                    <a:pt x="245" y="0"/>
                  </a:cubicBezTo>
                  <a:cubicBezTo>
                    <a:pt x="212" y="0"/>
                    <a:pt x="179" y="3"/>
                    <a:pt x="147" y="9"/>
                  </a:cubicBezTo>
                  <a:cubicBezTo>
                    <a:pt x="116" y="16"/>
                    <a:pt x="85" y="25"/>
                    <a:pt x="56" y="38"/>
                  </a:cubicBezTo>
                  <a:cubicBezTo>
                    <a:pt x="37" y="46"/>
                    <a:pt x="18" y="55"/>
                    <a:pt x="0" y="66"/>
                  </a:cubicBezTo>
                  <a:cubicBezTo>
                    <a:pt x="0" y="77"/>
                    <a:pt x="0" y="77"/>
                    <a:pt x="0" y="77"/>
                  </a:cubicBezTo>
                  <a:cubicBezTo>
                    <a:pt x="72" y="34"/>
                    <a:pt x="156" y="9"/>
                    <a:pt x="245" y="9"/>
                  </a:cubicBezTo>
                  <a:cubicBezTo>
                    <a:pt x="399" y="9"/>
                    <a:pt x="536" y="82"/>
                    <a:pt x="623" y="196"/>
                  </a:cubicBezTo>
                  <a:cubicBezTo>
                    <a:pt x="626" y="183"/>
                    <a:pt x="626" y="183"/>
                    <a:pt x="626" y="183"/>
                  </a:cubicBezTo>
                  <a:cubicBezTo>
                    <a:pt x="614" y="169"/>
                    <a:pt x="602" y="155"/>
                    <a:pt x="589" y="142"/>
                  </a:cubicBezTo>
                  <a:cubicBezTo>
                    <a:pt x="567" y="120"/>
                    <a:pt x="543" y="100"/>
                    <a:pt x="517"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3" name="Freeform 8">
              <a:extLst>
                <a:ext uri="{FF2B5EF4-FFF2-40B4-BE49-F238E27FC236}">
                  <a16:creationId xmlns:a16="http://schemas.microsoft.com/office/drawing/2014/main" xmlns="" id="{F5AAFB50-8DC4-4BD9-965F-9EE40F28132C}"/>
                </a:ext>
              </a:extLst>
            </p:cNvPr>
            <p:cNvSpPr>
              <a:spLocks noEditPoints="1"/>
            </p:cNvSpPr>
            <p:nvPr/>
          </p:nvSpPr>
          <p:spPr bwMode="auto">
            <a:xfrm>
              <a:off x="145487" y="2099632"/>
              <a:ext cx="76200" cy="76200"/>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9 h 48"/>
                <a:gd name="T12" fmla="*/ 9 w 48"/>
                <a:gd name="T13" fmla="*/ 24 h 48"/>
                <a:gd name="T14" fmla="*/ 24 w 48"/>
                <a:gd name="T15" fmla="*/ 10 h 48"/>
                <a:gd name="T16" fmla="*/ 38 w 48"/>
                <a:gd name="T17" fmla="*/ 24 h 48"/>
                <a:gd name="T18" fmla="*/ 24 w 4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8"/>
                    <a:pt x="11" y="48"/>
                    <a:pt x="24" y="48"/>
                  </a:cubicBezTo>
                  <a:cubicBezTo>
                    <a:pt x="37" y="48"/>
                    <a:pt x="48" y="38"/>
                    <a:pt x="48" y="24"/>
                  </a:cubicBezTo>
                  <a:cubicBezTo>
                    <a:pt x="48" y="11"/>
                    <a:pt x="37" y="0"/>
                    <a:pt x="24" y="0"/>
                  </a:cubicBezTo>
                  <a:close/>
                  <a:moveTo>
                    <a:pt x="24" y="39"/>
                  </a:moveTo>
                  <a:cubicBezTo>
                    <a:pt x="16" y="39"/>
                    <a:pt x="9" y="32"/>
                    <a:pt x="9" y="24"/>
                  </a:cubicBezTo>
                  <a:cubicBezTo>
                    <a:pt x="9" y="16"/>
                    <a:pt x="16" y="10"/>
                    <a:pt x="24" y="10"/>
                  </a:cubicBezTo>
                  <a:cubicBezTo>
                    <a:pt x="32" y="10"/>
                    <a:pt x="38" y="16"/>
                    <a:pt x="38" y="24"/>
                  </a:cubicBezTo>
                  <a:cubicBezTo>
                    <a:pt x="38" y="32"/>
                    <a:pt x="32" y="39"/>
                    <a:pt x="24"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4" name="Freeform 9">
              <a:extLst>
                <a:ext uri="{FF2B5EF4-FFF2-40B4-BE49-F238E27FC236}">
                  <a16:creationId xmlns:a16="http://schemas.microsoft.com/office/drawing/2014/main" xmlns="" id="{E30812D8-C8C7-414A-9384-844155C2FFCD}"/>
                </a:ext>
              </a:extLst>
            </p:cNvPr>
            <p:cNvSpPr>
              <a:spLocks noEditPoints="1"/>
            </p:cNvSpPr>
            <p:nvPr/>
          </p:nvSpPr>
          <p:spPr bwMode="auto">
            <a:xfrm>
              <a:off x="648725" y="2167895"/>
              <a:ext cx="130175" cy="128588"/>
            </a:xfrm>
            <a:custGeom>
              <a:avLst/>
              <a:gdLst>
                <a:gd name="T0" fmla="*/ 40 w 81"/>
                <a:gd name="T1" fmla="*/ 0 h 81"/>
                <a:gd name="T2" fmla="*/ 0 w 81"/>
                <a:gd name="T3" fmla="*/ 40 h 81"/>
                <a:gd name="T4" fmla="*/ 40 w 81"/>
                <a:gd name="T5" fmla="*/ 81 h 81"/>
                <a:gd name="T6" fmla="*/ 81 w 81"/>
                <a:gd name="T7" fmla="*/ 40 h 81"/>
                <a:gd name="T8" fmla="*/ 40 w 81"/>
                <a:gd name="T9" fmla="*/ 0 h 81"/>
                <a:gd name="T10" fmla="*/ 40 w 81"/>
                <a:gd name="T11" fmla="*/ 71 h 81"/>
                <a:gd name="T12" fmla="*/ 10 w 81"/>
                <a:gd name="T13" fmla="*/ 40 h 81"/>
                <a:gd name="T14" fmla="*/ 40 w 81"/>
                <a:gd name="T15" fmla="*/ 10 h 81"/>
                <a:gd name="T16" fmla="*/ 71 w 81"/>
                <a:gd name="T17" fmla="*/ 40 h 81"/>
                <a:gd name="T18" fmla="*/ 40 w 81"/>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18" y="0"/>
                    <a:pt x="0" y="18"/>
                    <a:pt x="0" y="40"/>
                  </a:cubicBezTo>
                  <a:cubicBezTo>
                    <a:pt x="0" y="63"/>
                    <a:pt x="18" y="81"/>
                    <a:pt x="40" y="81"/>
                  </a:cubicBezTo>
                  <a:cubicBezTo>
                    <a:pt x="63" y="81"/>
                    <a:pt x="81" y="63"/>
                    <a:pt x="81" y="40"/>
                  </a:cubicBezTo>
                  <a:cubicBezTo>
                    <a:pt x="81" y="18"/>
                    <a:pt x="63" y="0"/>
                    <a:pt x="40" y="0"/>
                  </a:cubicBezTo>
                  <a:close/>
                  <a:moveTo>
                    <a:pt x="40" y="71"/>
                  </a:moveTo>
                  <a:cubicBezTo>
                    <a:pt x="24" y="71"/>
                    <a:pt x="10" y="57"/>
                    <a:pt x="10" y="40"/>
                  </a:cubicBezTo>
                  <a:cubicBezTo>
                    <a:pt x="10" y="24"/>
                    <a:pt x="24" y="10"/>
                    <a:pt x="40" y="10"/>
                  </a:cubicBezTo>
                  <a:cubicBezTo>
                    <a:pt x="57" y="10"/>
                    <a:pt x="71" y="24"/>
                    <a:pt x="71" y="40"/>
                  </a:cubicBezTo>
                  <a:cubicBezTo>
                    <a:pt x="71" y="57"/>
                    <a:pt x="57" y="71"/>
                    <a:pt x="40"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5" name="Freeform 10">
              <a:extLst>
                <a:ext uri="{FF2B5EF4-FFF2-40B4-BE49-F238E27FC236}">
                  <a16:creationId xmlns:a16="http://schemas.microsoft.com/office/drawing/2014/main" xmlns="" id="{62F353F6-DE7E-4360-A7ED-C6A6FE5E4C40}"/>
                </a:ext>
              </a:extLst>
            </p:cNvPr>
            <p:cNvSpPr>
              <a:spLocks noEditPoints="1"/>
            </p:cNvSpPr>
            <p:nvPr/>
          </p:nvSpPr>
          <p:spPr bwMode="auto">
            <a:xfrm>
              <a:off x="613799" y="2132970"/>
              <a:ext cx="200025" cy="198438"/>
            </a:xfrm>
            <a:custGeom>
              <a:avLst/>
              <a:gdLst>
                <a:gd name="T0" fmla="*/ 62 w 125"/>
                <a:gd name="T1" fmla="*/ 0 h 125"/>
                <a:gd name="T2" fmla="*/ 0 w 125"/>
                <a:gd name="T3" fmla="*/ 62 h 125"/>
                <a:gd name="T4" fmla="*/ 62 w 125"/>
                <a:gd name="T5" fmla="*/ 125 h 125"/>
                <a:gd name="T6" fmla="*/ 125 w 125"/>
                <a:gd name="T7" fmla="*/ 62 h 125"/>
                <a:gd name="T8" fmla="*/ 62 w 125"/>
                <a:gd name="T9" fmla="*/ 0 h 125"/>
                <a:gd name="T10" fmla="*/ 62 w 125"/>
                <a:gd name="T11" fmla="*/ 115 h 125"/>
                <a:gd name="T12" fmla="*/ 9 w 125"/>
                <a:gd name="T13" fmla="*/ 62 h 125"/>
                <a:gd name="T14" fmla="*/ 62 w 125"/>
                <a:gd name="T15" fmla="*/ 9 h 125"/>
                <a:gd name="T16" fmla="*/ 115 w 125"/>
                <a:gd name="T17" fmla="*/ 62 h 125"/>
                <a:gd name="T18" fmla="*/ 62 w 125"/>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2" y="0"/>
                  </a:moveTo>
                  <a:cubicBezTo>
                    <a:pt x="28" y="0"/>
                    <a:pt x="0" y="28"/>
                    <a:pt x="0" y="62"/>
                  </a:cubicBezTo>
                  <a:cubicBezTo>
                    <a:pt x="0" y="97"/>
                    <a:pt x="28" y="125"/>
                    <a:pt x="62" y="125"/>
                  </a:cubicBezTo>
                  <a:cubicBezTo>
                    <a:pt x="97" y="125"/>
                    <a:pt x="125" y="97"/>
                    <a:pt x="125" y="62"/>
                  </a:cubicBezTo>
                  <a:cubicBezTo>
                    <a:pt x="125" y="28"/>
                    <a:pt x="97" y="0"/>
                    <a:pt x="62" y="0"/>
                  </a:cubicBezTo>
                  <a:close/>
                  <a:moveTo>
                    <a:pt x="62" y="115"/>
                  </a:moveTo>
                  <a:cubicBezTo>
                    <a:pt x="33" y="115"/>
                    <a:pt x="9" y="92"/>
                    <a:pt x="9" y="62"/>
                  </a:cubicBezTo>
                  <a:cubicBezTo>
                    <a:pt x="9" y="33"/>
                    <a:pt x="33" y="9"/>
                    <a:pt x="62" y="9"/>
                  </a:cubicBezTo>
                  <a:cubicBezTo>
                    <a:pt x="92" y="9"/>
                    <a:pt x="115" y="33"/>
                    <a:pt x="115" y="62"/>
                  </a:cubicBezTo>
                  <a:cubicBezTo>
                    <a:pt x="115" y="92"/>
                    <a:pt x="92" y="115"/>
                    <a:pt x="62" y="1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6" name="Freeform 11">
              <a:extLst>
                <a:ext uri="{FF2B5EF4-FFF2-40B4-BE49-F238E27FC236}">
                  <a16:creationId xmlns:a16="http://schemas.microsoft.com/office/drawing/2014/main" xmlns="" id="{B7D81B13-232F-4D91-ACC9-0E4ED2C1FAC4}"/>
                </a:ext>
              </a:extLst>
            </p:cNvPr>
            <p:cNvSpPr>
              <a:spLocks noEditPoints="1"/>
            </p:cNvSpPr>
            <p:nvPr/>
          </p:nvSpPr>
          <p:spPr bwMode="auto">
            <a:xfrm>
              <a:off x="89924" y="2040895"/>
              <a:ext cx="57150" cy="5556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26 h 35"/>
                <a:gd name="T12" fmla="*/ 10 w 35"/>
                <a:gd name="T13" fmla="*/ 18 h 35"/>
                <a:gd name="T14" fmla="*/ 18 w 35"/>
                <a:gd name="T15" fmla="*/ 9 h 35"/>
                <a:gd name="T16" fmla="*/ 26 w 35"/>
                <a:gd name="T17" fmla="*/ 18 h 35"/>
                <a:gd name="T18" fmla="*/ 18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26"/>
                  </a:moveTo>
                  <a:cubicBezTo>
                    <a:pt x="13" y="26"/>
                    <a:pt x="10" y="22"/>
                    <a:pt x="10" y="18"/>
                  </a:cubicBezTo>
                  <a:cubicBezTo>
                    <a:pt x="10" y="13"/>
                    <a:pt x="13" y="9"/>
                    <a:pt x="18" y="9"/>
                  </a:cubicBezTo>
                  <a:cubicBezTo>
                    <a:pt x="22" y="9"/>
                    <a:pt x="26" y="13"/>
                    <a:pt x="26" y="18"/>
                  </a:cubicBezTo>
                  <a:cubicBezTo>
                    <a:pt x="26" y="22"/>
                    <a:pt x="22" y="26"/>
                    <a:pt x="18"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7" name="Freeform 12">
              <a:extLst>
                <a:ext uri="{FF2B5EF4-FFF2-40B4-BE49-F238E27FC236}">
                  <a16:creationId xmlns:a16="http://schemas.microsoft.com/office/drawing/2014/main" xmlns="" id="{1BE5228B-4E18-4EE5-994D-4A1CB008138C}"/>
                </a:ext>
              </a:extLst>
            </p:cNvPr>
            <p:cNvSpPr>
              <a:spLocks noEditPoints="1"/>
            </p:cNvSpPr>
            <p:nvPr/>
          </p:nvSpPr>
          <p:spPr bwMode="auto">
            <a:xfrm>
              <a:off x="-2151" y="1383670"/>
              <a:ext cx="896938" cy="1174750"/>
            </a:xfrm>
            <a:custGeom>
              <a:avLst/>
              <a:gdLst>
                <a:gd name="T0" fmla="*/ 0 w 562"/>
                <a:gd name="T1" fmla="*/ 481 h 739"/>
                <a:gd name="T2" fmla="*/ 58 w 562"/>
                <a:gd name="T3" fmla="*/ 575 h 739"/>
                <a:gd name="T4" fmla="*/ 138 w 562"/>
                <a:gd name="T5" fmla="*/ 700 h 739"/>
                <a:gd name="T6" fmla="*/ 397 w 562"/>
                <a:gd name="T7" fmla="*/ 601 h 739"/>
                <a:gd name="T8" fmla="*/ 534 w 562"/>
                <a:gd name="T9" fmla="*/ 533 h 739"/>
                <a:gd name="T10" fmla="*/ 526 w 562"/>
                <a:gd name="T11" fmla="*/ 364 h 739"/>
                <a:gd name="T12" fmla="*/ 554 w 562"/>
                <a:gd name="T13" fmla="*/ 298 h 739"/>
                <a:gd name="T14" fmla="*/ 517 w 562"/>
                <a:gd name="T15" fmla="*/ 228 h 739"/>
                <a:gd name="T16" fmla="*/ 245 w 562"/>
                <a:gd name="T17" fmla="*/ 83 h 739"/>
                <a:gd name="T18" fmla="*/ 89 w 562"/>
                <a:gd name="T19" fmla="*/ 105 h 739"/>
                <a:gd name="T20" fmla="*/ 117 w 562"/>
                <a:gd name="T21" fmla="*/ 25 h 739"/>
                <a:gd name="T22" fmla="*/ 83 w 562"/>
                <a:gd name="T23" fmla="*/ 5 h 739"/>
                <a:gd name="T24" fmla="*/ 88 w 562"/>
                <a:gd name="T25" fmla="*/ 42 h 739"/>
                <a:gd name="T26" fmla="*/ 40 w 562"/>
                <a:gd name="T27" fmla="*/ 134 h 739"/>
                <a:gd name="T28" fmla="*/ 0 w 562"/>
                <a:gd name="T29" fmla="*/ 146 h 739"/>
                <a:gd name="T30" fmla="*/ 39 w 562"/>
                <a:gd name="T31" fmla="*/ 144 h 739"/>
                <a:gd name="T32" fmla="*/ 0 w 562"/>
                <a:gd name="T33" fmla="*/ 212 h 739"/>
                <a:gd name="T34" fmla="*/ 0 w 562"/>
                <a:gd name="T35" fmla="*/ 248 h 739"/>
                <a:gd name="T36" fmla="*/ 98 w 562"/>
                <a:gd name="T37" fmla="*/ 180 h 739"/>
                <a:gd name="T38" fmla="*/ 147 w 562"/>
                <a:gd name="T39" fmla="*/ 279 h 739"/>
                <a:gd name="T40" fmla="*/ 177 w 562"/>
                <a:gd name="T41" fmla="*/ 284 h 739"/>
                <a:gd name="T42" fmla="*/ 156 w 562"/>
                <a:gd name="T43" fmla="*/ 246 h 739"/>
                <a:gd name="T44" fmla="*/ 115 w 562"/>
                <a:gd name="T45" fmla="*/ 126 h 739"/>
                <a:gd name="T46" fmla="*/ 484 w 562"/>
                <a:gd name="T47" fmla="*/ 242 h 739"/>
                <a:gd name="T48" fmla="*/ 413 w 562"/>
                <a:gd name="T49" fmla="*/ 298 h 739"/>
                <a:gd name="T50" fmla="*/ 516 w 562"/>
                <a:gd name="T51" fmla="*/ 341 h 739"/>
                <a:gd name="T52" fmla="*/ 448 w 562"/>
                <a:gd name="T53" fmla="*/ 448 h 739"/>
                <a:gd name="T54" fmla="*/ 388 w 562"/>
                <a:gd name="T55" fmla="*/ 594 h 739"/>
                <a:gd name="T56" fmla="*/ 138 w 562"/>
                <a:gd name="T57" fmla="*/ 614 h 739"/>
                <a:gd name="T58" fmla="*/ 128 w 562"/>
                <a:gd name="T59" fmla="*/ 700 h 739"/>
                <a:gd name="T60" fmla="*/ 68 w 562"/>
                <a:gd name="T61" fmla="*/ 565 h 739"/>
                <a:gd name="T62" fmla="*/ 128 w 562"/>
                <a:gd name="T63" fmla="*/ 556 h 739"/>
                <a:gd name="T64" fmla="*/ 128 w 562"/>
                <a:gd name="T65" fmla="*/ 530 h 739"/>
                <a:gd name="T66" fmla="*/ 158 w 562"/>
                <a:gd name="T67" fmla="*/ 256 h 739"/>
                <a:gd name="T68" fmla="*/ 175 w 562"/>
                <a:gd name="T69" fmla="*/ 259 h 739"/>
                <a:gd name="T70" fmla="*/ 155 w 562"/>
                <a:gd name="T71" fmla="*/ 273 h 739"/>
                <a:gd name="T72" fmla="*/ 96 w 562"/>
                <a:gd name="T73" fmla="*/ 10 h 739"/>
                <a:gd name="T74" fmla="*/ 108 w 562"/>
                <a:gd name="T75" fmla="*/ 24 h 739"/>
                <a:gd name="T76" fmla="*/ 84 w 562"/>
                <a:gd name="T77" fmla="*/ 20 h 739"/>
                <a:gd name="T78" fmla="*/ 79 w 562"/>
                <a:gd name="T79" fmla="*/ 114 h 739"/>
                <a:gd name="T80" fmla="*/ 484 w 562"/>
                <a:gd name="T81" fmla="*/ 363 h 739"/>
                <a:gd name="T82" fmla="*/ 451 w 562"/>
                <a:gd name="T83" fmla="*/ 237 h 739"/>
                <a:gd name="T84" fmla="*/ 488 w 562"/>
                <a:gd name="T85" fmla="*/ 253 h 739"/>
                <a:gd name="T86" fmla="*/ 546 w 562"/>
                <a:gd name="T87" fmla="*/ 292 h 739"/>
                <a:gd name="T88" fmla="*/ 448 w 562"/>
                <a:gd name="T89" fmla="*/ 458 h 739"/>
                <a:gd name="T90" fmla="*/ 373 w 562"/>
                <a:gd name="T91" fmla="*/ 53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739">
                  <a:moveTo>
                    <a:pt x="58" y="520"/>
                  </a:moveTo>
                  <a:cubicBezTo>
                    <a:pt x="58" y="561"/>
                    <a:pt x="58" y="561"/>
                    <a:pt x="58" y="561"/>
                  </a:cubicBezTo>
                  <a:cubicBezTo>
                    <a:pt x="34" y="538"/>
                    <a:pt x="14" y="511"/>
                    <a:pt x="0" y="481"/>
                  </a:cubicBezTo>
                  <a:cubicBezTo>
                    <a:pt x="0" y="502"/>
                    <a:pt x="0" y="502"/>
                    <a:pt x="0" y="502"/>
                  </a:cubicBezTo>
                  <a:cubicBezTo>
                    <a:pt x="6" y="513"/>
                    <a:pt x="13" y="523"/>
                    <a:pt x="20" y="533"/>
                  </a:cubicBezTo>
                  <a:cubicBezTo>
                    <a:pt x="32" y="548"/>
                    <a:pt x="44" y="562"/>
                    <a:pt x="58" y="575"/>
                  </a:cubicBezTo>
                  <a:cubicBezTo>
                    <a:pt x="58" y="700"/>
                    <a:pt x="58" y="700"/>
                    <a:pt x="58" y="700"/>
                  </a:cubicBezTo>
                  <a:cubicBezTo>
                    <a:pt x="58" y="722"/>
                    <a:pt x="76" y="739"/>
                    <a:pt x="98" y="739"/>
                  </a:cubicBezTo>
                  <a:cubicBezTo>
                    <a:pt x="120" y="739"/>
                    <a:pt x="138" y="722"/>
                    <a:pt x="138" y="700"/>
                  </a:cubicBezTo>
                  <a:cubicBezTo>
                    <a:pt x="138" y="624"/>
                    <a:pt x="138" y="624"/>
                    <a:pt x="138" y="624"/>
                  </a:cubicBezTo>
                  <a:cubicBezTo>
                    <a:pt x="172" y="638"/>
                    <a:pt x="208" y="646"/>
                    <a:pt x="245" y="646"/>
                  </a:cubicBezTo>
                  <a:cubicBezTo>
                    <a:pt x="299" y="646"/>
                    <a:pt x="352" y="630"/>
                    <a:pt x="397" y="601"/>
                  </a:cubicBezTo>
                  <a:cubicBezTo>
                    <a:pt x="412" y="612"/>
                    <a:pt x="430" y="619"/>
                    <a:pt x="448" y="619"/>
                  </a:cubicBezTo>
                  <a:cubicBezTo>
                    <a:pt x="471" y="619"/>
                    <a:pt x="493" y="610"/>
                    <a:pt x="509" y="594"/>
                  </a:cubicBezTo>
                  <a:cubicBezTo>
                    <a:pt x="525" y="578"/>
                    <a:pt x="534" y="556"/>
                    <a:pt x="534" y="533"/>
                  </a:cubicBezTo>
                  <a:cubicBezTo>
                    <a:pt x="534" y="511"/>
                    <a:pt x="525" y="489"/>
                    <a:pt x="509" y="473"/>
                  </a:cubicBezTo>
                  <a:cubicBezTo>
                    <a:pt x="508" y="472"/>
                    <a:pt x="507" y="471"/>
                    <a:pt x="506" y="470"/>
                  </a:cubicBezTo>
                  <a:cubicBezTo>
                    <a:pt x="519" y="437"/>
                    <a:pt x="526" y="401"/>
                    <a:pt x="526" y="364"/>
                  </a:cubicBezTo>
                  <a:cubicBezTo>
                    <a:pt x="526" y="354"/>
                    <a:pt x="526" y="343"/>
                    <a:pt x="524" y="331"/>
                  </a:cubicBezTo>
                  <a:cubicBezTo>
                    <a:pt x="554" y="298"/>
                    <a:pt x="554" y="298"/>
                    <a:pt x="554" y="298"/>
                  </a:cubicBezTo>
                  <a:cubicBezTo>
                    <a:pt x="554" y="298"/>
                    <a:pt x="554" y="298"/>
                    <a:pt x="554" y="298"/>
                  </a:cubicBezTo>
                  <a:cubicBezTo>
                    <a:pt x="554" y="298"/>
                    <a:pt x="554" y="298"/>
                    <a:pt x="554" y="298"/>
                  </a:cubicBezTo>
                  <a:cubicBezTo>
                    <a:pt x="559" y="290"/>
                    <a:pt x="562" y="281"/>
                    <a:pt x="562" y="272"/>
                  </a:cubicBezTo>
                  <a:cubicBezTo>
                    <a:pt x="562" y="248"/>
                    <a:pt x="542" y="228"/>
                    <a:pt x="517" y="228"/>
                  </a:cubicBezTo>
                  <a:cubicBezTo>
                    <a:pt x="509" y="228"/>
                    <a:pt x="501" y="230"/>
                    <a:pt x="494" y="234"/>
                  </a:cubicBezTo>
                  <a:cubicBezTo>
                    <a:pt x="471" y="190"/>
                    <a:pt x="437" y="153"/>
                    <a:pt x="395" y="126"/>
                  </a:cubicBezTo>
                  <a:cubicBezTo>
                    <a:pt x="350" y="98"/>
                    <a:pt x="298" y="83"/>
                    <a:pt x="245" y="83"/>
                  </a:cubicBezTo>
                  <a:cubicBezTo>
                    <a:pt x="220" y="83"/>
                    <a:pt x="196" y="87"/>
                    <a:pt x="172" y="93"/>
                  </a:cubicBezTo>
                  <a:cubicBezTo>
                    <a:pt x="150" y="99"/>
                    <a:pt x="129" y="107"/>
                    <a:pt x="110" y="118"/>
                  </a:cubicBezTo>
                  <a:cubicBezTo>
                    <a:pt x="104" y="112"/>
                    <a:pt x="97" y="107"/>
                    <a:pt x="89" y="105"/>
                  </a:cubicBezTo>
                  <a:cubicBezTo>
                    <a:pt x="98" y="44"/>
                    <a:pt x="98" y="44"/>
                    <a:pt x="98" y="44"/>
                  </a:cubicBezTo>
                  <a:cubicBezTo>
                    <a:pt x="102" y="44"/>
                    <a:pt x="106" y="42"/>
                    <a:pt x="109" y="40"/>
                  </a:cubicBezTo>
                  <a:cubicBezTo>
                    <a:pt x="114" y="36"/>
                    <a:pt x="117" y="31"/>
                    <a:pt x="117" y="25"/>
                  </a:cubicBezTo>
                  <a:cubicBezTo>
                    <a:pt x="118" y="19"/>
                    <a:pt x="117" y="14"/>
                    <a:pt x="113" y="9"/>
                  </a:cubicBezTo>
                  <a:cubicBezTo>
                    <a:pt x="110" y="4"/>
                    <a:pt x="105" y="1"/>
                    <a:pt x="99" y="0"/>
                  </a:cubicBezTo>
                  <a:cubicBezTo>
                    <a:pt x="93" y="0"/>
                    <a:pt x="87" y="1"/>
                    <a:pt x="83" y="5"/>
                  </a:cubicBezTo>
                  <a:cubicBezTo>
                    <a:pt x="78" y="8"/>
                    <a:pt x="75" y="13"/>
                    <a:pt x="74" y="19"/>
                  </a:cubicBezTo>
                  <a:cubicBezTo>
                    <a:pt x="73" y="25"/>
                    <a:pt x="75" y="31"/>
                    <a:pt x="78" y="35"/>
                  </a:cubicBezTo>
                  <a:cubicBezTo>
                    <a:pt x="81" y="39"/>
                    <a:pt x="84" y="41"/>
                    <a:pt x="88" y="42"/>
                  </a:cubicBezTo>
                  <a:cubicBezTo>
                    <a:pt x="80" y="104"/>
                    <a:pt x="80" y="104"/>
                    <a:pt x="80" y="104"/>
                  </a:cubicBezTo>
                  <a:cubicBezTo>
                    <a:pt x="79" y="104"/>
                    <a:pt x="79" y="104"/>
                    <a:pt x="79" y="104"/>
                  </a:cubicBezTo>
                  <a:cubicBezTo>
                    <a:pt x="60" y="104"/>
                    <a:pt x="45" y="117"/>
                    <a:pt x="40" y="134"/>
                  </a:cubicBezTo>
                  <a:cubicBezTo>
                    <a:pt x="6" y="129"/>
                    <a:pt x="6" y="129"/>
                    <a:pt x="6" y="129"/>
                  </a:cubicBezTo>
                  <a:cubicBezTo>
                    <a:pt x="6" y="124"/>
                    <a:pt x="3" y="119"/>
                    <a:pt x="0" y="116"/>
                  </a:cubicBezTo>
                  <a:cubicBezTo>
                    <a:pt x="0" y="146"/>
                    <a:pt x="0" y="146"/>
                    <a:pt x="0" y="146"/>
                  </a:cubicBezTo>
                  <a:cubicBezTo>
                    <a:pt x="2" y="144"/>
                    <a:pt x="4" y="141"/>
                    <a:pt x="5" y="139"/>
                  </a:cubicBezTo>
                  <a:cubicBezTo>
                    <a:pt x="39" y="143"/>
                    <a:pt x="39" y="143"/>
                    <a:pt x="39" y="143"/>
                  </a:cubicBezTo>
                  <a:cubicBezTo>
                    <a:pt x="39" y="144"/>
                    <a:pt x="39" y="144"/>
                    <a:pt x="39" y="144"/>
                  </a:cubicBezTo>
                  <a:cubicBezTo>
                    <a:pt x="39" y="152"/>
                    <a:pt x="41" y="159"/>
                    <a:pt x="45" y="165"/>
                  </a:cubicBezTo>
                  <a:cubicBezTo>
                    <a:pt x="0" y="200"/>
                    <a:pt x="0" y="200"/>
                    <a:pt x="0" y="200"/>
                  </a:cubicBezTo>
                  <a:cubicBezTo>
                    <a:pt x="0" y="212"/>
                    <a:pt x="0" y="212"/>
                    <a:pt x="0" y="212"/>
                  </a:cubicBezTo>
                  <a:cubicBezTo>
                    <a:pt x="20" y="196"/>
                    <a:pt x="20" y="196"/>
                    <a:pt x="20" y="196"/>
                  </a:cubicBezTo>
                  <a:cubicBezTo>
                    <a:pt x="12" y="206"/>
                    <a:pt x="6" y="216"/>
                    <a:pt x="0" y="227"/>
                  </a:cubicBezTo>
                  <a:cubicBezTo>
                    <a:pt x="0" y="248"/>
                    <a:pt x="0" y="248"/>
                    <a:pt x="0" y="248"/>
                  </a:cubicBezTo>
                  <a:cubicBezTo>
                    <a:pt x="13" y="221"/>
                    <a:pt x="30" y="196"/>
                    <a:pt x="52" y="174"/>
                  </a:cubicBezTo>
                  <a:cubicBezTo>
                    <a:pt x="59" y="180"/>
                    <a:pt x="69" y="184"/>
                    <a:pt x="79" y="184"/>
                  </a:cubicBezTo>
                  <a:cubicBezTo>
                    <a:pt x="86" y="184"/>
                    <a:pt x="92" y="183"/>
                    <a:pt x="98" y="180"/>
                  </a:cubicBezTo>
                  <a:cubicBezTo>
                    <a:pt x="149" y="252"/>
                    <a:pt x="149" y="252"/>
                    <a:pt x="149" y="252"/>
                  </a:cubicBezTo>
                  <a:cubicBezTo>
                    <a:pt x="146" y="255"/>
                    <a:pt x="144" y="258"/>
                    <a:pt x="143" y="263"/>
                  </a:cubicBezTo>
                  <a:cubicBezTo>
                    <a:pt x="142" y="268"/>
                    <a:pt x="143" y="274"/>
                    <a:pt x="147" y="279"/>
                  </a:cubicBezTo>
                  <a:cubicBezTo>
                    <a:pt x="150" y="284"/>
                    <a:pt x="155" y="287"/>
                    <a:pt x="161" y="288"/>
                  </a:cubicBezTo>
                  <a:cubicBezTo>
                    <a:pt x="162" y="288"/>
                    <a:pt x="163" y="288"/>
                    <a:pt x="165" y="288"/>
                  </a:cubicBezTo>
                  <a:cubicBezTo>
                    <a:pt x="169" y="288"/>
                    <a:pt x="174" y="287"/>
                    <a:pt x="177" y="284"/>
                  </a:cubicBezTo>
                  <a:cubicBezTo>
                    <a:pt x="187" y="277"/>
                    <a:pt x="189" y="264"/>
                    <a:pt x="183" y="254"/>
                  </a:cubicBezTo>
                  <a:cubicBezTo>
                    <a:pt x="179" y="249"/>
                    <a:pt x="174" y="246"/>
                    <a:pt x="168" y="245"/>
                  </a:cubicBezTo>
                  <a:cubicBezTo>
                    <a:pt x="164" y="244"/>
                    <a:pt x="160" y="245"/>
                    <a:pt x="156" y="246"/>
                  </a:cubicBezTo>
                  <a:cubicBezTo>
                    <a:pt x="106" y="174"/>
                    <a:pt x="106" y="174"/>
                    <a:pt x="106" y="174"/>
                  </a:cubicBezTo>
                  <a:cubicBezTo>
                    <a:pt x="114" y="167"/>
                    <a:pt x="119" y="156"/>
                    <a:pt x="119" y="144"/>
                  </a:cubicBezTo>
                  <a:cubicBezTo>
                    <a:pt x="119" y="138"/>
                    <a:pt x="118" y="132"/>
                    <a:pt x="115" y="126"/>
                  </a:cubicBezTo>
                  <a:cubicBezTo>
                    <a:pt x="155" y="104"/>
                    <a:pt x="200" y="93"/>
                    <a:pt x="245" y="93"/>
                  </a:cubicBezTo>
                  <a:cubicBezTo>
                    <a:pt x="347" y="93"/>
                    <a:pt x="439" y="149"/>
                    <a:pt x="486" y="240"/>
                  </a:cubicBezTo>
                  <a:cubicBezTo>
                    <a:pt x="485" y="240"/>
                    <a:pt x="485" y="241"/>
                    <a:pt x="484" y="242"/>
                  </a:cubicBezTo>
                  <a:cubicBezTo>
                    <a:pt x="475" y="233"/>
                    <a:pt x="463" y="228"/>
                    <a:pt x="451" y="228"/>
                  </a:cubicBezTo>
                  <a:cubicBezTo>
                    <a:pt x="426" y="228"/>
                    <a:pt x="406" y="248"/>
                    <a:pt x="406" y="272"/>
                  </a:cubicBezTo>
                  <a:cubicBezTo>
                    <a:pt x="406" y="281"/>
                    <a:pt x="408" y="290"/>
                    <a:pt x="413" y="298"/>
                  </a:cubicBezTo>
                  <a:cubicBezTo>
                    <a:pt x="414" y="298"/>
                    <a:pt x="414" y="298"/>
                    <a:pt x="414" y="298"/>
                  </a:cubicBezTo>
                  <a:cubicBezTo>
                    <a:pt x="484" y="377"/>
                    <a:pt x="484" y="377"/>
                    <a:pt x="484" y="377"/>
                  </a:cubicBezTo>
                  <a:cubicBezTo>
                    <a:pt x="516" y="341"/>
                    <a:pt x="516" y="341"/>
                    <a:pt x="516" y="341"/>
                  </a:cubicBezTo>
                  <a:cubicBezTo>
                    <a:pt x="516" y="349"/>
                    <a:pt x="517" y="357"/>
                    <a:pt x="517" y="364"/>
                  </a:cubicBezTo>
                  <a:cubicBezTo>
                    <a:pt x="517" y="399"/>
                    <a:pt x="510" y="432"/>
                    <a:pt x="498" y="464"/>
                  </a:cubicBezTo>
                  <a:cubicBezTo>
                    <a:pt x="484" y="454"/>
                    <a:pt x="466" y="448"/>
                    <a:pt x="448" y="448"/>
                  </a:cubicBezTo>
                  <a:cubicBezTo>
                    <a:pt x="426" y="448"/>
                    <a:pt x="404" y="457"/>
                    <a:pt x="388" y="473"/>
                  </a:cubicBezTo>
                  <a:cubicBezTo>
                    <a:pt x="372" y="489"/>
                    <a:pt x="363" y="511"/>
                    <a:pt x="363" y="533"/>
                  </a:cubicBezTo>
                  <a:cubicBezTo>
                    <a:pt x="363" y="556"/>
                    <a:pt x="372" y="578"/>
                    <a:pt x="388" y="594"/>
                  </a:cubicBezTo>
                  <a:cubicBezTo>
                    <a:pt x="389" y="595"/>
                    <a:pt x="389" y="595"/>
                    <a:pt x="389" y="595"/>
                  </a:cubicBezTo>
                  <a:cubicBezTo>
                    <a:pt x="346" y="622"/>
                    <a:pt x="296" y="636"/>
                    <a:pt x="245" y="636"/>
                  </a:cubicBezTo>
                  <a:cubicBezTo>
                    <a:pt x="208" y="636"/>
                    <a:pt x="172" y="629"/>
                    <a:pt x="138" y="614"/>
                  </a:cubicBezTo>
                  <a:cubicBezTo>
                    <a:pt x="138" y="520"/>
                    <a:pt x="138" y="520"/>
                    <a:pt x="138" y="520"/>
                  </a:cubicBezTo>
                  <a:lnTo>
                    <a:pt x="58" y="520"/>
                  </a:lnTo>
                  <a:close/>
                  <a:moveTo>
                    <a:pt x="128" y="700"/>
                  </a:moveTo>
                  <a:cubicBezTo>
                    <a:pt x="128" y="716"/>
                    <a:pt x="115" y="730"/>
                    <a:pt x="98" y="730"/>
                  </a:cubicBezTo>
                  <a:cubicBezTo>
                    <a:pt x="81" y="730"/>
                    <a:pt x="68" y="716"/>
                    <a:pt x="68" y="700"/>
                  </a:cubicBezTo>
                  <a:cubicBezTo>
                    <a:pt x="68" y="565"/>
                    <a:pt x="68" y="565"/>
                    <a:pt x="68" y="565"/>
                  </a:cubicBezTo>
                  <a:cubicBezTo>
                    <a:pt x="128" y="565"/>
                    <a:pt x="128" y="565"/>
                    <a:pt x="128" y="565"/>
                  </a:cubicBezTo>
                  <a:lnTo>
                    <a:pt x="128" y="700"/>
                  </a:lnTo>
                  <a:close/>
                  <a:moveTo>
                    <a:pt x="128" y="556"/>
                  </a:moveTo>
                  <a:cubicBezTo>
                    <a:pt x="68" y="556"/>
                    <a:pt x="68" y="556"/>
                    <a:pt x="68" y="556"/>
                  </a:cubicBezTo>
                  <a:cubicBezTo>
                    <a:pt x="68" y="530"/>
                    <a:pt x="68" y="530"/>
                    <a:pt x="68" y="530"/>
                  </a:cubicBezTo>
                  <a:cubicBezTo>
                    <a:pt x="128" y="530"/>
                    <a:pt x="128" y="530"/>
                    <a:pt x="128" y="530"/>
                  </a:cubicBezTo>
                  <a:lnTo>
                    <a:pt x="128" y="556"/>
                  </a:lnTo>
                  <a:close/>
                  <a:moveTo>
                    <a:pt x="153" y="264"/>
                  </a:moveTo>
                  <a:cubicBezTo>
                    <a:pt x="153" y="261"/>
                    <a:pt x="155" y="258"/>
                    <a:pt x="158" y="256"/>
                  </a:cubicBezTo>
                  <a:cubicBezTo>
                    <a:pt x="160" y="255"/>
                    <a:pt x="162" y="254"/>
                    <a:pt x="165" y="254"/>
                  </a:cubicBezTo>
                  <a:cubicBezTo>
                    <a:pt x="165" y="254"/>
                    <a:pt x="166" y="254"/>
                    <a:pt x="167" y="254"/>
                  </a:cubicBezTo>
                  <a:cubicBezTo>
                    <a:pt x="170" y="255"/>
                    <a:pt x="173" y="257"/>
                    <a:pt x="175" y="259"/>
                  </a:cubicBezTo>
                  <a:cubicBezTo>
                    <a:pt x="179" y="265"/>
                    <a:pt x="177" y="272"/>
                    <a:pt x="172" y="276"/>
                  </a:cubicBezTo>
                  <a:cubicBezTo>
                    <a:pt x="169" y="278"/>
                    <a:pt x="166" y="279"/>
                    <a:pt x="163" y="278"/>
                  </a:cubicBezTo>
                  <a:cubicBezTo>
                    <a:pt x="159" y="278"/>
                    <a:pt x="157" y="276"/>
                    <a:pt x="155" y="273"/>
                  </a:cubicBezTo>
                  <a:cubicBezTo>
                    <a:pt x="153" y="271"/>
                    <a:pt x="152" y="267"/>
                    <a:pt x="153" y="264"/>
                  </a:cubicBezTo>
                  <a:close/>
                  <a:moveTo>
                    <a:pt x="84" y="20"/>
                  </a:moveTo>
                  <a:cubicBezTo>
                    <a:pt x="85" y="14"/>
                    <a:pt x="90" y="10"/>
                    <a:pt x="96" y="10"/>
                  </a:cubicBezTo>
                  <a:cubicBezTo>
                    <a:pt x="96" y="10"/>
                    <a:pt x="97" y="10"/>
                    <a:pt x="98" y="10"/>
                  </a:cubicBezTo>
                  <a:cubicBezTo>
                    <a:pt x="101" y="10"/>
                    <a:pt x="104" y="12"/>
                    <a:pt x="106" y="15"/>
                  </a:cubicBezTo>
                  <a:cubicBezTo>
                    <a:pt x="108" y="17"/>
                    <a:pt x="108" y="21"/>
                    <a:pt x="108" y="24"/>
                  </a:cubicBezTo>
                  <a:cubicBezTo>
                    <a:pt x="107" y="27"/>
                    <a:pt x="106" y="30"/>
                    <a:pt x="103" y="32"/>
                  </a:cubicBezTo>
                  <a:cubicBezTo>
                    <a:pt x="101" y="34"/>
                    <a:pt x="97" y="35"/>
                    <a:pt x="94" y="34"/>
                  </a:cubicBezTo>
                  <a:cubicBezTo>
                    <a:pt x="88" y="33"/>
                    <a:pt x="83" y="27"/>
                    <a:pt x="84" y="20"/>
                  </a:cubicBezTo>
                  <a:close/>
                  <a:moveTo>
                    <a:pt x="79" y="175"/>
                  </a:moveTo>
                  <a:cubicBezTo>
                    <a:pt x="62" y="175"/>
                    <a:pt x="48" y="161"/>
                    <a:pt x="48" y="144"/>
                  </a:cubicBezTo>
                  <a:cubicBezTo>
                    <a:pt x="48" y="127"/>
                    <a:pt x="62" y="114"/>
                    <a:pt x="79" y="114"/>
                  </a:cubicBezTo>
                  <a:cubicBezTo>
                    <a:pt x="96" y="114"/>
                    <a:pt x="109" y="127"/>
                    <a:pt x="109" y="144"/>
                  </a:cubicBezTo>
                  <a:cubicBezTo>
                    <a:pt x="109" y="161"/>
                    <a:pt x="96" y="175"/>
                    <a:pt x="79" y="175"/>
                  </a:cubicBezTo>
                  <a:close/>
                  <a:moveTo>
                    <a:pt x="484" y="363"/>
                  </a:moveTo>
                  <a:cubicBezTo>
                    <a:pt x="421" y="292"/>
                    <a:pt x="421" y="292"/>
                    <a:pt x="421" y="292"/>
                  </a:cubicBezTo>
                  <a:cubicBezTo>
                    <a:pt x="417" y="286"/>
                    <a:pt x="415" y="279"/>
                    <a:pt x="415" y="272"/>
                  </a:cubicBezTo>
                  <a:cubicBezTo>
                    <a:pt x="415" y="253"/>
                    <a:pt x="431" y="237"/>
                    <a:pt x="451" y="237"/>
                  </a:cubicBezTo>
                  <a:cubicBezTo>
                    <a:pt x="462" y="237"/>
                    <a:pt x="473" y="243"/>
                    <a:pt x="480" y="253"/>
                  </a:cubicBezTo>
                  <a:cubicBezTo>
                    <a:pt x="484" y="259"/>
                    <a:pt x="484" y="259"/>
                    <a:pt x="484" y="259"/>
                  </a:cubicBezTo>
                  <a:cubicBezTo>
                    <a:pt x="488" y="253"/>
                    <a:pt x="488" y="253"/>
                    <a:pt x="488" y="253"/>
                  </a:cubicBezTo>
                  <a:cubicBezTo>
                    <a:pt x="494" y="243"/>
                    <a:pt x="505" y="237"/>
                    <a:pt x="517" y="237"/>
                  </a:cubicBezTo>
                  <a:cubicBezTo>
                    <a:pt x="536" y="237"/>
                    <a:pt x="552" y="253"/>
                    <a:pt x="552" y="272"/>
                  </a:cubicBezTo>
                  <a:cubicBezTo>
                    <a:pt x="552" y="279"/>
                    <a:pt x="550" y="286"/>
                    <a:pt x="546" y="292"/>
                  </a:cubicBezTo>
                  <a:lnTo>
                    <a:pt x="484" y="363"/>
                  </a:lnTo>
                  <a:close/>
                  <a:moveTo>
                    <a:pt x="373" y="533"/>
                  </a:moveTo>
                  <a:cubicBezTo>
                    <a:pt x="373" y="492"/>
                    <a:pt x="407" y="458"/>
                    <a:pt x="448" y="458"/>
                  </a:cubicBezTo>
                  <a:cubicBezTo>
                    <a:pt x="490" y="458"/>
                    <a:pt x="524" y="492"/>
                    <a:pt x="524" y="533"/>
                  </a:cubicBezTo>
                  <a:cubicBezTo>
                    <a:pt x="524" y="575"/>
                    <a:pt x="490" y="609"/>
                    <a:pt x="448" y="609"/>
                  </a:cubicBezTo>
                  <a:cubicBezTo>
                    <a:pt x="407" y="609"/>
                    <a:pt x="373" y="575"/>
                    <a:pt x="373" y="5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pic>
        <p:nvPicPr>
          <p:cNvPr id="18" name="Content Placeholder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923671" y="1189995"/>
            <a:ext cx="6047583" cy="4752975"/>
          </a:xfrm>
          <a:prstGeom prst="rect">
            <a:avLst/>
          </a:prstGeom>
        </p:spPr>
      </p:pic>
      <p:sp>
        <p:nvSpPr>
          <p:cNvPr id="19" name="Rectangle 18"/>
          <p:cNvSpPr/>
          <p:nvPr/>
        </p:nvSpPr>
        <p:spPr>
          <a:xfrm>
            <a:off x="6097588" y="6452416"/>
            <a:ext cx="6092825" cy="400110"/>
          </a:xfrm>
          <a:prstGeom prst="rect">
            <a:avLst/>
          </a:prstGeom>
        </p:spPr>
        <p:txBody>
          <a:bodyPr>
            <a:spAutoFit/>
          </a:bodyPr>
          <a:lstStyle/>
          <a:p>
            <a:r>
              <a:rPr lang="en-US" sz="1000" dirty="0">
                <a:solidFill>
                  <a:schemeClr val="lt1"/>
                </a:solidFill>
              </a:rPr>
              <a:t>Figure 7: Expected average reskilling needs across companies, by share of employees, 2018–2022, Source: Future of Jobs Survey 2018, World Economic Forum.</a:t>
            </a:r>
          </a:p>
        </p:txBody>
      </p:sp>
    </p:spTree>
    <p:extLst>
      <p:ext uri="{BB962C8B-B14F-4D97-AF65-F5344CB8AC3E}">
        <p14:creationId xmlns:p14="http://schemas.microsoft.com/office/powerpoint/2010/main" val="2473592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9">
            <a:extLst>
              <a:ext uri="{FF2B5EF4-FFF2-40B4-BE49-F238E27FC236}">
                <a16:creationId xmlns:a16="http://schemas.microsoft.com/office/drawing/2014/main" xmlns="" id="{475CC97F-6934-47BE-A235-2E86251F1859}"/>
              </a:ext>
            </a:extLst>
          </p:cNvPr>
          <p:cNvSpPr/>
          <p:nvPr/>
        </p:nvSpPr>
        <p:spPr bwMode="gray">
          <a:xfrm>
            <a:off x="1438274" y="-13708"/>
            <a:ext cx="10768239" cy="6884177"/>
          </a:xfrm>
          <a:prstGeom prst="rect">
            <a:avLst/>
          </a:prstGeom>
          <a:solidFill>
            <a:srgbClr val="004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74" name="Rechteck 6">
            <a:extLst>
              <a:ext uri="{FF2B5EF4-FFF2-40B4-BE49-F238E27FC236}">
                <a16:creationId xmlns:a16="http://schemas.microsoft.com/office/drawing/2014/main" xmlns="" id="{9B83B1FB-BDB8-4C4D-B2F0-A78CE31CF8CB}"/>
              </a:ext>
            </a:extLst>
          </p:cNvPr>
          <p:cNvSpPr/>
          <p:nvPr/>
        </p:nvSpPr>
        <p:spPr bwMode="auto">
          <a:xfrm flipH="1" flipV="1">
            <a:off x="-2296" y="-12262"/>
            <a:ext cx="8039518" cy="6882565"/>
          </a:xfrm>
          <a:custGeom>
            <a:avLst/>
            <a:gdLst/>
            <a:ahLst/>
            <a:cxnLst/>
            <a:rect l="l" t="t" r="r" b="b"/>
            <a:pathLst>
              <a:path w="7787099" h="6882565">
                <a:moveTo>
                  <a:pt x="0" y="6882565"/>
                </a:moveTo>
                <a:lnTo>
                  <a:pt x="2976133" y="0"/>
                </a:lnTo>
                <a:lnTo>
                  <a:pt x="7787099" y="0"/>
                </a:lnTo>
                <a:lnTo>
                  <a:pt x="6553534" y="6879896"/>
                </a:lnTo>
                <a:close/>
              </a:path>
            </a:pathLst>
          </a:custGeom>
          <a:gradFill flip="none" rotWithShape="1">
            <a:gsLst>
              <a:gs pos="0">
                <a:srgbClr val="005A7A"/>
              </a:gs>
              <a:gs pos="100000">
                <a:srgbClr val="0090C5">
                  <a:lumMod val="50000"/>
                </a:srgbClr>
              </a:gs>
            </a:gsLst>
            <a:lin ang="162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defTabSz="1221456">
              <a:defRPr/>
            </a:pPr>
            <a:endParaRPr lang="de-DE" sz="2400" kern="0" dirty="0" err="1">
              <a:solidFill>
                <a:srgbClr val="4D4D4D"/>
              </a:solidFill>
            </a:endParaRPr>
          </a:p>
        </p:txBody>
      </p:sp>
      <p:sp>
        <p:nvSpPr>
          <p:cNvPr id="7" name="Titel 6">
            <a:extLst>
              <a:ext uri="{FF2B5EF4-FFF2-40B4-BE49-F238E27FC236}">
                <a16:creationId xmlns:a16="http://schemas.microsoft.com/office/drawing/2014/main" xmlns="" id="{7D5BD909-61B7-4F8E-B2F9-C0CE944E0A79}"/>
              </a:ext>
            </a:extLst>
          </p:cNvPr>
          <p:cNvSpPr>
            <a:spLocks noGrp="1"/>
          </p:cNvSpPr>
          <p:nvPr>
            <p:ph type="title"/>
          </p:nvPr>
        </p:nvSpPr>
        <p:spPr/>
        <p:txBody>
          <a:bodyPr/>
          <a:lstStyle/>
          <a:p>
            <a:r>
              <a:rPr lang="en-US" sz="4400" b="1" dirty="0">
                <a:solidFill>
                  <a:srgbClr val="FFFFFF"/>
                </a:solidFill>
              </a:rPr>
              <a:t>“Lifelong learning is essential…</a:t>
            </a:r>
          </a:p>
        </p:txBody>
      </p:sp>
      <p:sp>
        <p:nvSpPr>
          <p:cNvPr id="2" name="Fußzeilenplatzhalter 1">
            <a:extLst>
              <a:ext uri="{FF2B5EF4-FFF2-40B4-BE49-F238E27FC236}">
                <a16:creationId xmlns:a16="http://schemas.microsoft.com/office/drawing/2014/main" xmlns="" id="{EF2F8EE4-4E4D-442C-95B9-B6B4DEB71CA2}"/>
              </a:ext>
            </a:extLst>
          </p:cNvPr>
          <p:cNvSpPr>
            <a:spLocks noGrp="1"/>
          </p:cNvSpPr>
          <p:nvPr>
            <p:ph type="ftr" sz="quarter" idx="16"/>
          </p:nvPr>
        </p:nvSpPr>
        <p:spPr/>
        <p:txBody>
          <a:bodyPr/>
          <a:lstStyle/>
          <a:p>
            <a:r>
              <a:rPr lang="en-US" dirty="0">
                <a:solidFill>
                  <a:srgbClr val="FFFFFF"/>
                </a:solidFill>
              </a:rPr>
              <a:t>/// Advancing Digital  at Bayer /// Data as an Asset Convention ///  September 2019</a:t>
            </a:r>
          </a:p>
        </p:txBody>
      </p:sp>
      <p:sp>
        <p:nvSpPr>
          <p:cNvPr id="3" name="Foliennummernplatzhalter 2">
            <a:extLst>
              <a:ext uri="{FF2B5EF4-FFF2-40B4-BE49-F238E27FC236}">
                <a16:creationId xmlns:a16="http://schemas.microsoft.com/office/drawing/2014/main" xmlns="" id="{8409A87D-B088-447E-80CA-B9AEB32142A0}"/>
              </a:ext>
            </a:extLst>
          </p:cNvPr>
          <p:cNvSpPr>
            <a:spLocks noGrp="1"/>
          </p:cNvSpPr>
          <p:nvPr>
            <p:ph type="sldNum" sz="quarter" idx="17"/>
          </p:nvPr>
        </p:nvSpPr>
        <p:spPr/>
        <p:txBody>
          <a:bodyPr/>
          <a:lstStyle/>
          <a:p>
            <a:fld id="{EEAD9179-7A6B-4268-BEB2-F3B8EB06115B}" type="slidenum">
              <a:rPr lang="en-US" smtClean="0">
                <a:solidFill>
                  <a:srgbClr val="00BCFF"/>
                </a:solidFill>
              </a:rPr>
              <a:pPr/>
              <a:t>6</a:t>
            </a:fld>
            <a:endParaRPr lang="en-US" dirty="0">
              <a:solidFill>
                <a:srgbClr val="00BCFF"/>
              </a:solidFill>
            </a:endParaRPr>
          </a:p>
        </p:txBody>
      </p:sp>
      <p:grpSp>
        <p:nvGrpSpPr>
          <p:cNvPr id="140" name="Gruppieren 139">
            <a:extLst>
              <a:ext uri="{FF2B5EF4-FFF2-40B4-BE49-F238E27FC236}">
                <a16:creationId xmlns:a16="http://schemas.microsoft.com/office/drawing/2014/main" xmlns="" id="{693FF34E-9AFA-46A7-9E57-368571AA9DFA}"/>
              </a:ext>
            </a:extLst>
          </p:cNvPr>
          <p:cNvGrpSpPr/>
          <p:nvPr/>
        </p:nvGrpSpPr>
        <p:grpSpPr>
          <a:xfrm>
            <a:off x="-2151" y="1189995"/>
            <a:ext cx="998538" cy="1546225"/>
            <a:chOff x="-2151" y="1189995"/>
            <a:chExt cx="998538" cy="1546225"/>
          </a:xfrm>
        </p:grpSpPr>
        <p:sp>
          <p:nvSpPr>
            <p:cNvPr id="141" name="Freeform 6">
              <a:extLst>
                <a:ext uri="{FF2B5EF4-FFF2-40B4-BE49-F238E27FC236}">
                  <a16:creationId xmlns:a16="http://schemas.microsoft.com/office/drawing/2014/main" xmlns="" id="{A2BCDCDB-5F91-4B5E-B8B1-E7426BAAE111}"/>
                </a:ext>
              </a:extLst>
            </p:cNvPr>
            <p:cNvSpPr>
              <a:spLocks/>
            </p:cNvSpPr>
            <p:nvPr/>
          </p:nvSpPr>
          <p:spPr bwMode="auto">
            <a:xfrm>
              <a:off x="-2151" y="2610807"/>
              <a:ext cx="788988" cy="125413"/>
            </a:xfrm>
            <a:custGeom>
              <a:avLst/>
              <a:gdLst>
                <a:gd name="T0" fmla="*/ 245 w 494"/>
                <a:gd name="T1" fmla="*/ 70 h 79"/>
                <a:gd name="T2" fmla="*/ 0 w 494"/>
                <a:gd name="T3" fmla="*/ 2 h 79"/>
                <a:gd name="T4" fmla="*/ 0 w 494"/>
                <a:gd name="T5" fmla="*/ 13 h 79"/>
                <a:gd name="T6" fmla="*/ 56 w 494"/>
                <a:gd name="T7" fmla="*/ 41 h 79"/>
                <a:gd name="T8" fmla="*/ 147 w 494"/>
                <a:gd name="T9" fmla="*/ 69 h 79"/>
                <a:gd name="T10" fmla="*/ 245 w 494"/>
                <a:gd name="T11" fmla="*/ 79 h 79"/>
                <a:gd name="T12" fmla="*/ 343 w 494"/>
                <a:gd name="T13" fmla="*/ 69 h 79"/>
                <a:gd name="T14" fmla="*/ 435 w 494"/>
                <a:gd name="T15" fmla="*/ 41 h 79"/>
                <a:gd name="T16" fmla="*/ 492 w 494"/>
                <a:gd name="T17" fmla="*/ 12 h 79"/>
                <a:gd name="T18" fmla="*/ 494 w 494"/>
                <a:gd name="T19" fmla="*/ 0 h 79"/>
                <a:gd name="T20" fmla="*/ 245 w 494"/>
                <a:gd name="T2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9">
                  <a:moveTo>
                    <a:pt x="245" y="70"/>
                  </a:moveTo>
                  <a:cubicBezTo>
                    <a:pt x="156" y="70"/>
                    <a:pt x="72" y="45"/>
                    <a:pt x="0" y="2"/>
                  </a:cubicBezTo>
                  <a:cubicBezTo>
                    <a:pt x="0" y="13"/>
                    <a:pt x="0" y="13"/>
                    <a:pt x="0" y="13"/>
                  </a:cubicBezTo>
                  <a:cubicBezTo>
                    <a:pt x="18" y="24"/>
                    <a:pt x="37" y="33"/>
                    <a:pt x="56" y="41"/>
                  </a:cubicBezTo>
                  <a:cubicBezTo>
                    <a:pt x="85" y="54"/>
                    <a:pt x="116" y="63"/>
                    <a:pt x="147" y="69"/>
                  </a:cubicBezTo>
                  <a:cubicBezTo>
                    <a:pt x="179" y="76"/>
                    <a:pt x="212" y="79"/>
                    <a:pt x="245" y="79"/>
                  </a:cubicBezTo>
                  <a:cubicBezTo>
                    <a:pt x="278" y="79"/>
                    <a:pt x="311" y="76"/>
                    <a:pt x="343" y="69"/>
                  </a:cubicBezTo>
                  <a:cubicBezTo>
                    <a:pt x="375" y="63"/>
                    <a:pt x="405" y="54"/>
                    <a:pt x="435" y="41"/>
                  </a:cubicBezTo>
                  <a:cubicBezTo>
                    <a:pt x="454" y="33"/>
                    <a:pt x="473" y="23"/>
                    <a:pt x="492" y="12"/>
                  </a:cubicBezTo>
                  <a:cubicBezTo>
                    <a:pt x="494" y="0"/>
                    <a:pt x="494" y="0"/>
                    <a:pt x="494" y="0"/>
                  </a:cubicBezTo>
                  <a:cubicBezTo>
                    <a:pt x="421" y="44"/>
                    <a:pt x="336" y="70"/>
                    <a:pt x="245"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2" name="Freeform 7">
              <a:extLst>
                <a:ext uri="{FF2B5EF4-FFF2-40B4-BE49-F238E27FC236}">
                  <a16:creationId xmlns:a16="http://schemas.microsoft.com/office/drawing/2014/main" xmlns="" id="{0F67D967-272A-43C9-A84D-5D3CF66A0D66}"/>
                </a:ext>
              </a:extLst>
            </p:cNvPr>
            <p:cNvSpPr>
              <a:spLocks/>
            </p:cNvSpPr>
            <p:nvPr/>
          </p:nvSpPr>
          <p:spPr bwMode="auto">
            <a:xfrm>
              <a:off x="-2151" y="1189995"/>
              <a:ext cx="998538" cy="311150"/>
            </a:xfrm>
            <a:custGeom>
              <a:avLst/>
              <a:gdLst>
                <a:gd name="T0" fmla="*/ 517 w 626"/>
                <a:gd name="T1" fmla="*/ 83 h 196"/>
                <a:gd name="T2" fmla="*/ 435 w 626"/>
                <a:gd name="T3" fmla="*/ 38 h 196"/>
                <a:gd name="T4" fmla="*/ 343 w 626"/>
                <a:gd name="T5" fmla="*/ 9 h 196"/>
                <a:gd name="T6" fmla="*/ 245 w 626"/>
                <a:gd name="T7" fmla="*/ 0 h 196"/>
                <a:gd name="T8" fmla="*/ 147 w 626"/>
                <a:gd name="T9" fmla="*/ 9 h 196"/>
                <a:gd name="T10" fmla="*/ 56 w 626"/>
                <a:gd name="T11" fmla="*/ 38 h 196"/>
                <a:gd name="T12" fmla="*/ 0 w 626"/>
                <a:gd name="T13" fmla="*/ 66 h 196"/>
                <a:gd name="T14" fmla="*/ 0 w 626"/>
                <a:gd name="T15" fmla="*/ 77 h 196"/>
                <a:gd name="T16" fmla="*/ 245 w 626"/>
                <a:gd name="T17" fmla="*/ 9 h 196"/>
                <a:gd name="T18" fmla="*/ 623 w 626"/>
                <a:gd name="T19" fmla="*/ 196 h 196"/>
                <a:gd name="T20" fmla="*/ 626 w 626"/>
                <a:gd name="T21" fmla="*/ 183 h 196"/>
                <a:gd name="T22" fmla="*/ 589 w 626"/>
                <a:gd name="T23" fmla="*/ 142 h 196"/>
                <a:gd name="T24" fmla="*/ 517 w 626"/>
                <a:gd name="T25" fmla="*/ 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6" h="196">
                  <a:moveTo>
                    <a:pt x="517" y="83"/>
                  </a:moveTo>
                  <a:cubicBezTo>
                    <a:pt x="491" y="65"/>
                    <a:pt x="464" y="50"/>
                    <a:pt x="435" y="38"/>
                  </a:cubicBezTo>
                  <a:cubicBezTo>
                    <a:pt x="405" y="25"/>
                    <a:pt x="375" y="16"/>
                    <a:pt x="343" y="9"/>
                  </a:cubicBezTo>
                  <a:cubicBezTo>
                    <a:pt x="311" y="3"/>
                    <a:pt x="278" y="0"/>
                    <a:pt x="245" y="0"/>
                  </a:cubicBezTo>
                  <a:cubicBezTo>
                    <a:pt x="212" y="0"/>
                    <a:pt x="179" y="3"/>
                    <a:pt x="147" y="9"/>
                  </a:cubicBezTo>
                  <a:cubicBezTo>
                    <a:pt x="116" y="16"/>
                    <a:pt x="85" y="25"/>
                    <a:pt x="56" y="38"/>
                  </a:cubicBezTo>
                  <a:cubicBezTo>
                    <a:pt x="37" y="46"/>
                    <a:pt x="18" y="55"/>
                    <a:pt x="0" y="66"/>
                  </a:cubicBezTo>
                  <a:cubicBezTo>
                    <a:pt x="0" y="77"/>
                    <a:pt x="0" y="77"/>
                    <a:pt x="0" y="77"/>
                  </a:cubicBezTo>
                  <a:cubicBezTo>
                    <a:pt x="72" y="34"/>
                    <a:pt x="156" y="9"/>
                    <a:pt x="245" y="9"/>
                  </a:cubicBezTo>
                  <a:cubicBezTo>
                    <a:pt x="399" y="9"/>
                    <a:pt x="536" y="82"/>
                    <a:pt x="623" y="196"/>
                  </a:cubicBezTo>
                  <a:cubicBezTo>
                    <a:pt x="626" y="183"/>
                    <a:pt x="626" y="183"/>
                    <a:pt x="626" y="183"/>
                  </a:cubicBezTo>
                  <a:cubicBezTo>
                    <a:pt x="614" y="169"/>
                    <a:pt x="602" y="155"/>
                    <a:pt x="589" y="142"/>
                  </a:cubicBezTo>
                  <a:cubicBezTo>
                    <a:pt x="567" y="120"/>
                    <a:pt x="543" y="100"/>
                    <a:pt x="517"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3" name="Freeform 8">
              <a:extLst>
                <a:ext uri="{FF2B5EF4-FFF2-40B4-BE49-F238E27FC236}">
                  <a16:creationId xmlns:a16="http://schemas.microsoft.com/office/drawing/2014/main" xmlns="" id="{F5AAFB50-8DC4-4BD9-965F-9EE40F28132C}"/>
                </a:ext>
              </a:extLst>
            </p:cNvPr>
            <p:cNvSpPr>
              <a:spLocks noEditPoints="1"/>
            </p:cNvSpPr>
            <p:nvPr/>
          </p:nvSpPr>
          <p:spPr bwMode="auto">
            <a:xfrm>
              <a:off x="145487" y="2099632"/>
              <a:ext cx="76200" cy="76200"/>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9 h 48"/>
                <a:gd name="T12" fmla="*/ 9 w 48"/>
                <a:gd name="T13" fmla="*/ 24 h 48"/>
                <a:gd name="T14" fmla="*/ 24 w 48"/>
                <a:gd name="T15" fmla="*/ 10 h 48"/>
                <a:gd name="T16" fmla="*/ 38 w 48"/>
                <a:gd name="T17" fmla="*/ 24 h 48"/>
                <a:gd name="T18" fmla="*/ 24 w 4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8"/>
                    <a:pt x="11" y="48"/>
                    <a:pt x="24" y="48"/>
                  </a:cubicBezTo>
                  <a:cubicBezTo>
                    <a:pt x="37" y="48"/>
                    <a:pt x="48" y="38"/>
                    <a:pt x="48" y="24"/>
                  </a:cubicBezTo>
                  <a:cubicBezTo>
                    <a:pt x="48" y="11"/>
                    <a:pt x="37" y="0"/>
                    <a:pt x="24" y="0"/>
                  </a:cubicBezTo>
                  <a:close/>
                  <a:moveTo>
                    <a:pt x="24" y="39"/>
                  </a:moveTo>
                  <a:cubicBezTo>
                    <a:pt x="16" y="39"/>
                    <a:pt x="9" y="32"/>
                    <a:pt x="9" y="24"/>
                  </a:cubicBezTo>
                  <a:cubicBezTo>
                    <a:pt x="9" y="16"/>
                    <a:pt x="16" y="10"/>
                    <a:pt x="24" y="10"/>
                  </a:cubicBezTo>
                  <a:cubicBezTo>
                    <a:pt x="32" y="10"/>
                    <a:pt x="38" y="16"/>
                    <a:pt x="38" y="24"/>
                  </a:cubicBezTo>
                  <a:cubicBezTo>
                    <a:pt x="38" y="32"/>
                    <a:pt x="32" y="39"/>
                    <a:pt x="24"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4" name="Freeform 9">
              <a:extLst>
                <a:ext uri="{FF2B5EF4-FFF2-40B4-BE49-F238E27FC236}">
                  <a16:creationId xmlns:a16="http://schemas.microsoft.com/office/drawing/2014/main" xmlns="" id="{E30812D8-C8C7-414A-9384-844155C2FFCD}"/>
                </a:ext>
              </a:extLst>
            </p:cNvPr>
            <p:cNvSpPr>
              <a:spLocks noEditPoints="1"/>
            </p:cNvSpPr>
            <p:nvPr/>
          </p:nvSpPr>
          <p:spPr bwMode="auto">
            <a:xfrm>
              <a:off x="648725" y="2167895"/>
              <a:ext cx="130175" cy="128588"/>
            </a:xfrm>
            <a:custGeom>
              <a:avLst/>
              <a:gdLst>
                <a:gd name="T0" fmla="*/ 40 w 81"/>
                <a:gd name="T1" fmla="*/ 0 h 81"/>
                <a:gd name="T2" fmla="*/ 0 w 81"/>
                <a:gd name="T3" fmla="*/ 40 h 81"/>
                <a:gd name="T4" fmla="*/ 40 w 81"/>
                <a:gd name="T5" fmla="*/ 81 h 81"/>
                <a:gd name="T6" fmla="*/ 81 w 81"/>
                <a:gd name="T7" fmla="*/ 40 h 81"/>
                <a:gd name="T8" fmla="*/ 40 w 81"/>
                <a:gd name="T9" fmla="*/ 0 h 81"/>
                <a:gd name="T10" fmla="*/ 40 w 81"/>
                <a:gd name="T11" fmla="*/ 71 h 81"/>
                <a:gd name="T12" fmla="*/ 10 w 81"/>
                <a:gd name="T13" fmla="*/ 40 h 81"/>
                <a:gd name="T14" fmla="*/ 40 w 81"/>
                <a:gd name="T15" fmla="*/ 10 h 81"/>
                <a:gd name="T16" fmla="*/ 71 w 81"/>
                <a:gd name="T17" fmla="*/ 40 h 81"/>
                <a:gd name="T18" fmla="*/ 40 w 81"/>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18" y="0"/>
                    <a:pt x="0" y="18"/>
                    <a:pt x="0" y="40"/>
                  </a:cubicBezTo>
                  <a:cubicBezTo>
                    <a:pt x="0" y="63"/>
                    <a:pt x="18" y="81"/>
                    <a:pt x="40" y="81"/>
                  </a:cubicBezTo>
                  <a:cubicBezTo>
                    <a:pt x="63" y="81"/>
                    <a:pt x="81" y="63"/>
                    <a:pt x="81" y="40"/>
                  </a:cubicBezTo>
                  <a:cubicBezTo>
                    <a:pt x="81" y="18"/>
                    <a:pt x="63" y="0"/>
                    <a:pt x="40" y="0"/>
                  </a:cubicBezTo>
                  <a:close/>
                  <a:moveTo>
                    <a:pt x="40" y="71"/>
                  </a:moveTo>
                  <a:cubicBezTo>
                    <a:pt x="24" y="71"/>
                    <a:pt x="10" y="57"/>
                    <a:pt x="10" y="40"/>
                  </a:cubicBezTo>
                  <a:cubicBezTo>
                    <a:pt x="10" y="24"/>
                    <a:pt x="24" y="10"/>
                    <a:pt x="40" y="10"/>
                  </a:cubicBezTo>
                  <a:cubicBezTo>
                    <a:pt x="57" y="10"/>
                    <a:pt x="71" y="24"/>
                    <a:pt x="71" y="40"/>
                  </a:cubicBezTo>
                  <a:cubicBezTo>
                    <a:pt x="71" y="57"/>
                    <a:pt x="57" y="71"/>
                    <a:pt x="40"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5" name="Freeform 10">
              <a:extLst>
                <a:ext uri="{FF2B5EF4-FFF2-40B4-BE49-F238E27FC236}">
                  <a16:creationId xmlns:a16="http://schemas.microsoft.com/office/drawing/2014/main" xmlns="" id="{62F353F6-DE7E-4360-A7ED-C6A6FE5E4C40}"/>
                </a:ext>
              </a:extLst>
            </p:cNvPr>
            <p:cNvSpPr>
              <a:spLocks noEditPoints="1"/>
            </p:cNvSpPr>
            <p:nvPr/>
          </p:nvSpPr>
          <p:spPr bwMode="auto">
            <a:xfrm>
              <a:off x="613799" y="2132970"/>
              <a:ext cx="200025" cy="198438"/>
            </a:xfrm>
            <a:custGeom>
              <a:avLst/>
              <a:gdLst>
                <a:gd name="T0" fmla="*/ 62 w 125"/>
                <a:gd name="T1" fmla="*/ 0 h 125"/>
                <a:gd name="T2" fmla="*/ 0 w 125"/>
                <a:gd name="T3" fmla="*/ 62 h 125"/>
                <a:gd name="T4" fmla="*/ 62 w 125"/>
                <a:gd name="T5" fmla="*/ 125 h 125"/>
                <a:gd name="T6" fmla="*/ 125 w 125"/>
                <a:gd name="T7" fmla="*/ 62 h 125"/>
                <a:gd name="T8" fmla="*/ 62 w 125"/>
                <a:gd name="T9" fmla="*/ 0 h 125"/>
                <a:gd name="T10" fmla="*/ 62 w 125"/>
                <a:gd name="T11" fmla="*/ 115 h 125"/>
                <a:gd name="T12" fmla="*/ 9 w 125"/>
                <a:gd name="T13" fmla="*/ 62 h 125"/>
                <a:gd name="T14" fmla="*/ 62 w 125"/>
                <a:gd name="T15" fmla="*/ 9 h 125"/>
                <a:gd name="T16" fmla="*/ 115 w 125"/>
                <a:gd name="T17" fmla="*/ 62 h 125"/>
                <a:gd name="T18" fmla="*/ 62 w 125"/>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2" y="0"/>
                  </a:moveTo>
                  <a:cubicBezTo>
                    <a:pt x="28" y="0"/>
                    <a:pt x="0" y="28"/>
                    <a:pt x="0" y="62"/>
                  </a:cubicBezTo>
                  <a:cubicBezTo>
                    <a:pt x="0" y="97"/>
                    <a:pt x="28" y="125"/>
                    <a:pt x="62" y="125"/>
                  </a:cubicBezTo>
                  <a:cubicBezTo>
                    <a:pt x="97" y="125"/>
                    <a:pt x="125" y="97"/>
                    <a:pt x="125" y="62"/>
                  </a:cubicBezTo>
                  <a:cubicBezTo>
                    <a:pt x="125" y="28"/>
                    <a:pt x="97" y="0"/>
                    <a:pt x="62" y="0"/>
                  </a:cubicBezTo>
                  <a:close/>
                  <a:moveTo>
                    <a:pt x="62" y="115"/>
                  </a:moveTo>
                  <a:cubicBezTo>
                    <a:pt x="33" y="115"/>
                    <a:pt x="9" y="92"/>
                    <a:pt x="9" y="62"/>
                  </a:cubicBezTo>
                  <a:cubicBezTo>
                    <a:pt x="9" y="33"/>
                    <a:pt x="33" y="9"/>
                    <a:pt x="62" y="9"/>
                  </a:cubicBezTo>
                  <a:cubicBezTo>
                    <a:pt x="92" y="9"/>
                    <a:pt x="115" y="33"/>
                    <a:pt x="115" y="62"/>
                  </a:cubicBezTo>
                  <a:cubicBezTo>
                    <a:pt x="115" y="92"/>
                    <a:pt x="92" y="115"/>
                    <a:pt x="62" y="1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6" name="Freeform 11">
              <a:extLst>
                <a:ext uri="{FF2B5EF4-FFF2-40B4-BE49-F238E27FC236}">
                  <a16:creationId xmlns:a16="http://schemas.microsoft.com/office/drawing/2014/main" xmlns="" id="{B7D81B13-232F-4D91-ACC9-0E4ED2C1FAC4}"/>
                </a:ext>
              </a:extLst>
            </p:cNvPr>
            <p:cNvSpPr>
              <a:spLocks noEditPoints="1"/>
            </p:cNvSpPr>
            <p:nvPr/>
          </p:nvSpPr>
          <p:spPr bwMode="auto">
            <a:xfrm>
              <a:off x="89924" y="2040895"/>
              <a:ext cx="57150" cy="5556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26 h 35"/>
                <a:gd name="T12" fmla="*/ 10 w 35"/>
                <a:gd name="T13" fmla="*/ 18 h 35"/>
                <a:gd name="T14" fmla="*/ 18 w 35"/>
                <a:gd name="T15" fmla="*/ 9 h 35"/>
                <a:gd name="T16" fmla="*/ 26 w 35"/>
                <a:gd name="T17" fmla="*/ 18 h 35"/>
                <a:gd name="T18" fmla="*/ 18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26"/>
                  </a:moveTo>
                  <a:cubicBezTo>
                    <a:pt x="13" y="26"/>
                    <a:pt x="10" y="22"/>
                    <a:pt x="10" y="18"/>
                  </a:cubicBezTo>
                  <a:cubicBezTo>
                    <a:pt x="10" y="13"/>
                    <a:pt x="13" y="9"/>
                    <a:pt x="18" y="9"/>
                  </a:cubicBezTo>
                  <a:cubicBezTo>
                    <a:pt x="22" y="9"/>
                    <a:pt x="26" y="13"/>
                    <a:pt x="26" y="18"/>
                  </a:cubicBezTo>
                  <a:cubicBezTo>
                    <a:pt x="26" y="22"/>
                    <a:pt x="22" y="26"/>
                    <a:pt x="18"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7" name="Freeform 12">
              <a:extLst>
                <a:ext uri="{FF2B5EF4-FFF2-40B4-BE49-F238E27FC236}">
                  <a16:creationId xmlns:a16="http://schemas.microsoft.com/office/drawing/2014/main" xmlns="" id="{1BE5228B-4E18-4EE5-994D-4A1CB008138C}"/>
                </a:ext>
              </a:extLst>
            </p:cNvPr>
            <p:cNvSpPr>
              <a:spLocks noEditPoints="1"/>
            </p:cNvSpPr>
            <p:nvPr/>
          </p:nvSpPr>
          <p:spPr bwMode="auto">
            <a:xfrm>
              <a:off x="-2151" y="1383670"/>
              <a:ext cx="896938" cy="1174750"/>
            </a:xfrm>
            <a:custGeom>
              <a:avLst/>
              <a:gdLst>
                <a:gd name="T0" fmla="*/ 0 w 562"/>
                <a:gd name="T1" fmla="*/ 481 h 739"/>
                <a:gd name="T2" fmla="*/ 58 w 562"/>
                <a:gd name="T3" fmla="*/ 575 h 739"/>
                <a:gd name="T4" fmla="*/ 138 w 562"/>
                <a:gd name="T5" fmla="*/ 700 h 739"/>
                <a:gd name="T6" fmla="*/ 397 w 562"/>
                <a:gd name="T7" fmla="*/ 601 h 739"/>
                <a:gd name="T8" fmla="*/ 534 w 562"/>
                <a:gd name="T9" fmla="*/ 533 h 739"/>
                <a:gd name="T10" fmla="*/ 526 w 562"/>
                <a:gd name="T11" fmla="*/ 364 h 739"/>
                <a:gd name="T12" fmla="*/ 554 w 562"/>
                <a:gd name="T13" fmla="*/ 298 h 739"/>
                <a:gd name="T14" fmla="*/ 517 w 562"/>
                <a:gd name="T15" fmla="*/ 228 h 739"/>
                <a:gd name="T16" fmla="*/ 245 w 562"/>
                <a:gd name="T17" fmla="*/ 83 h 739"/>
                <a:gd name="T18" fmla="*/ 89 w 562"/>
                <a:gd name="T19" fmla="*/ 105 h 739"/>
                <a:gd name="T20" fmla="*/ 117 w 562"/>
                <a:gd name="T21" fmla="*/ 25 h 739"/>
                <a:gd name="T22" fmla="*/ 83 w 562"/>
                <a:gd name="T23" fmla="*/ 5 h 739"/>
                <a:gd name="T24" fmla="*/ 88 w 562"/>
                <a:gd name="T25" fmla="*/ 42 h 739"/>
                <a:gd name="T26" fmla="*/ 40 w 562"/>
                <a:gd name="T27" fmla="*/ 134 h 739"/>
                <a:gd name="T28" fmla="*/ 0 w 562"/>
                <a:gd name="T29" fmla="*/ 146 h 739"/>
                <a:gd name="T30" fmla="*/ 39 w 562"/>
                <a:gd name="T31" fmla="*/ 144 h 739"/>
                <a:gd name="T32" fmla="*/ 0 w 562"/>
                <a:gd name="T33" fmla="*/ 212 h 739"/>
                <a:gd name="T34" fmla="*/ 0 w 562"/>
                <a:gd name="T35" fmla="*/ 248 h 739"/>
                <a:gd name="T36" fmla="*/ 98 w 562"/>
                <a:gd name="T37" fmla="*/ 180 h 739"/>
                <a:gd name="T38" fmla="*/ 147 w 562"/>
                <a:gd name="T39" fmla="*/ 279 h 739"/>
                <a:gd name="T40" fmla="*/ 177 w 562"/>
                <a:gd name="T41" fmla="*/ 284 h 739"/>
                <a:gd name="T42" fmla="*/ 156 w 562"/>
                <a:gd name="T43" fmla="*/ 246 h 739"/>
                <a:gd name="T44" fmla="*/ 115 w 562"/>
                <a:gd name="T45" fmla="*/ 126 h 739"/>
                <a:gd name="T46" fmla="*/ 484 w 562"/>
                <a:gd name="T47" fmla="*/ 242 h 739"/>
                <a:gd name="T48" fmla="*/ 413 w 562"/>
                <a:gd name="T49" fmla="*/ 298 h 739"/>
                <a:gd name="T50" fmla="*/ 516 w 562"/>
                <a:gd name="T51" fmla="*/ 341 h 739"/>
                <a:gd name="T52" fmla="*/ 448 w 562"/>
                <a:gd name="T53" fmla="*/ 448 h 739"/>
                <a:gd name="T54" fmla="*/ 388 w 562"/>
                <a:gd name="T55" fmla="*/ 594 h 739"/>
                <a:gd name="T56" fmla="*/ 138 w 562"/>
                <a:gd name="T57" fmla="*/ 614 h 739"/>
                <a:gd name="T58" fmla="*/ 128 w 562"/>
                <a:gd name="T59" fmla="*/ 700 h 739"/>
                <a:gd name="T60" fmla="*/ 68 w 562"/>
                <a:gd name="T61" fmla="*/ 565 h 739"/>
                <a:gd name="T62" fmla="*/ 128 w 562"/>
                <a:gd name="T63" fmla="*/ 556 h 739"/>
                <a:gd name="T64" fmla="*/ 128 w 562"/>
                <a:gd name="T65" fmla="*/ 530 h 739"/>
                <a:gd name="T66" fmla="*/ 158 w 562"/>
                <a:gd name="T67" fmla="*/ 256 h 739"/>
                <a:gd name="T68" fmla="*/ 175 w 562"/>
                <a:gd name="T69" fmla="*/ 259 h 739"/>
                <a:gd name="T70" fmla="*/ 155 w 562"/>
                <a:gd name="T71" fmla="*/ 273 h 739"/>
                <a:gd name="T72" fmla="*/ 96 w 562"/>
                <a:gd name="T73" fmla="*/ 10 h 739"/>
                <a:gd name="T74" fmla="*/ 108 w 562"/>
                <a:gd name="T75" fmla="*/ 24 h 739"/>
                <a:gd name="T76" fmla="*/ 84 w 562"/>
                <a:gd name="T77" fmla="*/ 20 h 739"/>
                <a:gd name="T78" fmla="*/ 79 w 562"/>
                <a:gd name="T79" fmla="*/ 114 h 739"/>
                <a:gd name="T80" fmla="*/ 484 w 562"/>
                <a:gd name="T81" fmla="*/ 363 h 739"/>
                <a:gd name="T82" fmla="*/ 451 w 562"/>
                <a:gd name="T83" fmla="*/ 237 h 739"/>
                <a:gd name="T84" fmla="*/ 488 w 562"/>
                <a:gd name="T85" fmla="*/ 253 h 739"/>
                <a:gd name="T86" fmla="*/ 546 w 562"/>
                <a:gd name="T87" fmla="*/ 292 h 739"/>
                <a:gd name="T88" fmla="*/ 448 w 562"/>
                <a:gd name="T89" fmla="*/ 458 h 739"/>
                <a:gd name="T90" fmla="*/ 373 w 562"/>
                <a:gd name="T91" fmla="*/ 53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739">
                  <a:moveTo>
                    <a:pt x="58" y="520"/>
                  </a:moveTo>
                  <a:cubicBezTo>
                    <a:pt x="58" y="561"/>
                    <a:pt x="58" y="561"/>
                    <a:pt x="58" y="561"/>
                  </a:cubicBezTo>
                  <a:cubicBezTo>
                    <a:pt x="34" y="538"/>
                    <a:pt x="14" y="511"/>
                    <a:pt x="0" y="481"/>
                  </a:cubicBezTo>
                  <a:cubicBezTo>
                    <a:pt x="0" y="502"/>
                    <a:pt x="0" y="502"/>
                    <a:pt x="0" y="502"/>
                  </a:cubicBezTo>
                  <a:cubicBezTo>
                    <a:pt x="6" y="513"/>
                    <a:pt x="13" y="523"/>
                    <a:pt x="20" y="533"/>
                  </a:cubicBezTo>
                  <a:cubicBezTo>
                    <a:pt x="32" y="548"/>
                    <a:pt x="44" y="562"/>
                    <a:pt x="58" y="575"/>
                  </a:cubicBezTo>
                  <a:cubicBezTo>
                    <a:pt x="58" y="700"/>
                    <a:pt x="58" y="700"/>
                    <a:pt x="58" y="700"/>
                  </a:cubicBezTo>
                  <a:cubicBezTo>
                    <a:pt x="58" y="722"/>
                    <a:pt x="76" y="739"/>
                    <a:pt x="98" y="739"/>
                  </a:cubicBezTo>
                  <a:cubicBezTo>
                    <a:pt x="120" y="739"/>
                    <a:pt x="138" y="722"/>
                    <a:pt x="138" y="700"/>
                  </a:cubicBezTo>
                  <a:cubicBezTo>
                    <a:pt x="138" y="624"/>
                    <a:pt x="138" y="624"/>
                    <a:pt x="138" y="624"/>
                  </a:cubicBezTo>
                  <a:cubicBezTo>
                    <a:pt x="172" y="638"/>
                    <a:pt x="208" y="646"/>
                    <a:pt x="245" y="646"/>
                  </a:cubicBezTo>
                  <a:cubicBezTo>
                    <a:pt x="299" y="646"/>
                    <a:pt x="352" y="630"/>
                    <a:pt x="397" y="601"/>
                  </a:cubicBezTo>
                  <a:cubicBezTo>
                    <a:pt x="412" y="612"/>
                    <a:pt x="430" y="619"/>
                    <a:pt x="448" y="619"/>
                  </a:cubicBezTo>
                  <a:cubicBezTo>
                    <a:pt x="471" y="619"/>
                    <a:pt x="493" y="610"/>
                    <a:pt x="509" y="594"/>
                  </a:cubicBezTo>
                  <a:cubicBezTo>
                    <a:pt x="525" y="578"/>
                    <a:pt x="534" y="556"/>
                    <a:pt x="534" y="533"/>
                  </a:cubicBezTo>
                  <a:cubicBezTo>
                    <a:pt x="534" y="511"/>
                    <a:pt x="525" y="489"/>
                    <a:pt x="509" y="473"/>
                  </a:cubicBezTo>
                  <a:cubicBezTo>
                    <a:pt x="508" y="472"/>
                    <a:pt x="507" y="471"/>
                    <a:pt x="506" y="470"/>
                  </a:cubicBezTo>
                  <a:cubicBezTo>
                    <a:pt x="519" y="437"/>
                    <a:pt x="526" y="401"/>
                    <a:pt x="526" y="364"/>
                  </a:cubicBezTo>
                  <a:cubicBezTo>
                    <a:pt x="526" y="354"/>
                    <a:pt x="526" y="343"/>
                    <a:pt x="524" y="331"/>
                  </a:cubicBezTo>
                  <a:cubicBezTo>
                    <a:pt x="554" y="298"/>
                    <a:pt x="554" y="298"/>
                    <a:pt x="554" y="298"/>
                  </a:cubicBezTo>
                  <a:cubicBezTo>
                    <a:pt x="554" y="298"/>
                    <a:pt x="554" y="298"/>
                    <a:pt x="554" y="298"/>
                  </a:cubicBezTo>
                  <a:cubicBezTo>
                    <a:pt x="554" y="298"/>
                    <a:pt x="554" y="298"/>
                    <a:pt x="554" y="298"/>
                  </a:cubicBezTo>
                  <a:cubicBezTo>
                    <a:pt x="559" y="290"/>
                    <a:pt x="562" y="281"/>
                    <a:pt x="562" y="272"/>
                  </a:cubicBezTo>
                  <a:cubicBezTo>
                    <a:pt x="562" y="248"/>
                    <a:pt x="542" y="228"/>
                    <a:pt x="517" y="228"/>
                  </a:cubicBezTo>
                  <a:cubicBezTo>
                    <a:pt x="509" y="228"/>
                    <a:pt x="501" y="230"/>
                    <a:pt x="494" y="234"/>
                  </a:cubicBezTo>
                  <a:cubicBezTo>
                    <a:pt x="471" y="190"/>
                    <a:pt x="437" y="153"/>
                    <a:pt x="395" y="126"/>
                  </a:cubicBezTo>
                  <a:cubicBezTo>
                    <a:pt x="350" y="98"/>
                    <a:pt x="298" y="83"/>
                    <a:pt x="245" y="83"/>
                  </a:cubicBezTo>
                  <a:cubicBezTo>
                    <a:pt x="220" y="83"/>
                    <a:pt x="196" y="87"/>
                    <a:pt x="172" y="93"/>
                  </a:cubicBezTo>
                  <a:cubicBezTo>
                    <a:pt x="150" y="99"/>
                    <a:pt x="129" y="107"/>
                    <a:pt x="110" y="118"/>
                  </a:cubicBezTo>
                  <a:cubicBezTo>
                    <a:pt x="104" y="112"/>
                    <a:pt x="97" y="107"/>
                    <a:pt x="89" y="105"/>
                  </a:cubicBezTo>
                  <a:cubicBezTo>
                    <a:pt x="98" y="44"/>
                    <a:pt x="98" y="44"/>
                    <a:pt x="98" y="44"/>
                  </a:cubicBezTo>
                  <a:cubicBezTo>
                    <a:pt x="102" y="44"/>
                    <a:pt x="106" y="42"/>
                    <a:pt x="109" y="40"/>
                  </a:cubicBezTo>
                  <a:cubicBezTo>
                    <a:pt x="114" y="36"/>
                    <a:pt x="117" y="31"/>
                    <a:pt x="117" y="25"/>
                  </a:cubicBezTo>
                  <a:cubicBezTo>
                    <a:pt x="118" y="19"/>
                    <a:pt x="117" y="14"/>
                    <a:pt x="113" y="9"/>
                  </a:cubicBezTo>
                  <a:cubicBezTo>
                    <a:pt x="110" y="4"/>
                    <a:pt x="105" y="1"/>
                    <a:pt x="99" y="0"/>
                  </a:cubicBezTo>
                  <a:cubicBezTo>
                    <a:pt x="93" y="0"/>
                    <a:pt x="87" y="1"/>
                    <a:pt x="83" y="5"/>
                  </a:cubicBezTo>
                  <a:cubicBezTo>
                    <a:pt x="78" y="8"/>
                    <a:pt x="75" y="13"/>
                    <a:pt x="74" y="19"/>
                  </a:cubicBezTo>
                  <a:cubicBezTo>
                    <a:pt x="73" y="25"/>
                    <a:pt x="75" y="31"/>
                    <a:pt x="78" y="35"/>
                  </a:cubicBezTo>
                  <a:cubicBezTo>
                    <a:pt x="81" y="39"/>
                    <a:pt x="84" y="41"/>
                    <a:pt x="88" y="42"/>
                  </a:cubicBezTo>
                  <a:cubicBezTo>
                    <a:pt x="80" y="104"/>
                    <a:pt x="80" y="104"/>
                    <a:pt x="80" y="104"/>
                  </a:cubicBezTo>
                  <a:cubicBezTo>
                    <a:pt x="79" y="104"/>
                    <a:pt x="79" y="104"/>
                    <a:pt x="79" y="104"/>
                  </a:cubicBezTo>
                  <a:cubicBezTo>
                    <a:pt x="60" y="104"/>
                    <a:pt x="45" y="117"/>
                    <a:pt x="40" y="134"/>
                  </a:cubicBezTo>
                  <a:cubicBezTo>
                    <a:pt x="6" y="129"/>
                    <a:pt x="6" y="129"/>
                    <a:pt x="6" y="129"/>
                  </a:cubicBezTo>
                  <a:cubicBezTo>
                    <a:pt x="6" y="124"/>
                    <a:pt x="3" y="119"/>
                    <a:pt x="0" y="116"/>
                  </a:cubicBezTo>
                  <a:cubicBezTo>
                    <a:pt x="0" y="146"/>
                    <a:pt x="0" y="146"/>
                    <a:pt x="0" y="146"/>
                  </a:cubicBezTo>
                  <a:cubicBezTo>
                    <a:pt x="2" y="144"/>
                    <a:pt x="4" y="141"/>
                    <a:pt x="5" y="139"/>
                  </a:cubicBezTo>
                  <a:cubicBezTo>
                    <a:pt x="39" y="143"/>
                    <a:pt x="39" y="143"/>
                    <a:pt x="39" y="143"/>
                  </a:cubicBezTo>
                  <a:cubicBezTo>
                    <a:pt x="39" y="144"/>
                    <a:pt x="39" y="144"/>
                    <a:pt x="39" y="144"/>
                  </a:cubicBezTo>
                  <a:cubicBezTo>
                    <a:pt x="39" y="152"/>
                    <a:pt x="41" y="159"/>
                    <a:pt x="45" y="165"/>
                  </a:cubicBezTo>
                  <a:cubicBezTo>
                    <a:pt x="0" y="200"/>
                    <a:pt x="0" y="200"/>
                    <a:pt x="0" y="200"/>
                  </a:cubicBezTo>
                  <a:cubicBezTo>
                    <a:pt x="0" y="212"/>
                    <a:pt x="0" y="212"/>
                    <a:pt x="0" y="212"/>
                  </a:cubicBezTo>
                  <a:cubicBezTo>
                    <a:pt x="20" y="196"/>
                    <a:pt x="20" y="196"/>
                    <a:pt x="20" y="196"/>
                  </a:cubicBezTo>
                  <a:cubicBezTo>
                    <a:pt x="12" y="206"/>
                    <a:pt x="6" y="216"/>
                    <a:pt x="0" y="227"/>
                  </a:cubicBezTo>
                  <a:cubicBezTo>
                    <a:pt x="0" y="248"/>
                    <a:pt x="0" y="248"/>
                    <a:pt x="0" y="248"/>
                  </a:cubicBezTo>
                  <a:cubicBezTo>
                    <a:pt x="13" y="221"/>
                    <a:pt x="30" y="196"/>
                    <a:pt x="52" y="174"/>
                  </a:cubicBezTo>
                  <a:cubicBezTo>
                    <a:pt x="59" y="180"/>
                    <a:pt x="69" y="184"/>
                    <a:pt x="79" y="184"/>
                  </a:cubicBezTo>
                  <a:cubicBezTo>
                    <a:pt x="86" y="184"/>
                    <a:pt x="92" y="183"/>
                    <a:pt x="98" y="180"/>
                  </a:cubicBezTo>
                  <a:cubicBezTo>
                    <a:pt x="149" y="252"/>
                    <a:pt x="149" y="252"/>
                    <a:pt x="149" y="252"/>
                  </a:cubicBezTo>
                  <a:cubicBezTo>
                    <a:pt x="146" y="255"/>
                    <a:pt x="144" y="258"/>
                    <a:pt x="143" y="263"/>
                  </a:cubicBezTo>
                  <a:cubicBezTo>
                    <a:pt x="142" y="268"/>
                    <a:pt x="143" y="274"/>
                    <a:pt x="147" y="279"/>
                  </a:cubicBezTo>
                  <a:cubicBezTo>
                    <a:pt x="150" y="284"/>
                    <a:pt x="155" y="287"/>
                    <a:pt x="161" y="288"/>
                  </a:cubicBezTo>
                  <a:cubicBezTo>
                    <a:pt x="162" y="288"/>
                    <a:pt x="163" y="288"/>
                    <a:pt x="165" y="288"/>
                  </a:cubicBezTo>
                  <a:cubicBezTo>
                    <a:pt x="169" y="288"/>
                    <a:pt x="174" y="287"/>
                    <a:pt x="177" y="284"/>
                  </a:cubicBezTo>
                  <a:cubicBezTo>
                    <a:pt x="187" y="277"/>
                    <a:pt x="189" y="264"/>
                    <a:pt x="183" y="254"/>
                  </a:cubicBezTo>
                  <a:cubicBezTo>
                    <a:pt x="179" y="249"/>
                    <a:pt x="174" y="246"/>
                    <a:pt x="168" y="245"/>
                  </a:cubicBezTo>
                  <a:cubicBezTo>
                    <a:pt x="164" y="244"/>
                    <a:pt x="160" y="245"/>
                    <a:pt x="156" y="246"/>
                  </a:cubicBezTo>
                  <a:cubicBezTo>
                    <a:pt x="106" y="174"/>
                    <a:pt x="106" y="174"/>
                    <a:pt x="106" y="174"/>
                  </a:cubicBezTo>
                  <a:cubicBezTo>
                    <a:pt x="114" y="167"/>
                    <a:pt x="119" y="156"/>
                    <a:pt x="119" y="144"/>
                  </a:cubicBezTo>
                  <a:cubicBezTo>
                    <a:pt x="119" y="138"/>
                    <a:pt x="118" y="132"/>
                    <a:pt x="115" y="126"/>
                  </a:cubicBezTo>
                  <a:cubicBezTo>
                    <a:pt x="155" y="104"/>
                    <a:pt x="200" y="93"/>
                    <a:pt x="245" y="93"/>
                  </a:cubicBezTo>
                  <a:cubicBezTo>
                    <a:pt x="347" y="93"/>
                    <a:pt x="439" y="149"/>
                    <a:pt x="486" y="240"/>
                  </a:cubicBezTo>
                  <a:cubicBezTo>
                    <a:pt x="485" y="240"/>
                    <a:pt x="485" y="241"/>
                    <a:pt x="484" y="242"/>
                  </a:cubicBezTo>
                  <a:cubicBezTo>
                    <a:pt x="475" y="233"/>
                    <a:pt x="463" y="228"/>
                    <a:pt x="451" y="228"/>
                  </a:cubicBezTo>
                  <a:cubicBezTo>
                    <a:pt x="426" y="228"/>
                    <a:pt x="406" y="248"/>
                    <a:pt x="406" y="272"/>
                  </a:cubicBezTo>
                  <a:cubicBezTo>
                    <a:pt x="406" y="281"/>
                    <a:pt x="408" y="290"/>
                    <a:pt x="413" y="298"/>
                  </a:cubicBezTo>
                  <a:cubicBezTo>
                    <a:pt x="414" y="298"/>
                    <a:pt x="414" y="298"/>
                    <a:pt x="414" y="298"/>
                  </a:cubicBezTo>
                  <a:cubicBezTo>
                    <a:pt x="484" y="377"/>
                    <a:pt x="484" y="377"/>
                    <a:pt x="484" y="377"/>
                  </a:cubicBezTo>
                  <a:cubicBezTo>
                    <a:pt x="516" y="341"/>
                    <a:pt x="516" y="341"/>
                    <a:pt x="516" y="341"/>
                  </a:cubicBezTo>
                  <a:cubicBezTo>
                    <a:pt x="516" y="349"/>
                    <a:pt x="517" y="357"/>
                    <a:pt x="517" y="364"/>
                  </a:cubicBezTo>
                  <a:cubicBezTo>
                    <a:pt x="517" y="399"/>
                    <a:pt x="510" y="432"/>
                    <a:pt x="498" y="464"/>
                  </a:cubicBezTo>
                  <a:cubicBezTo>
                    <a:pt x="484" y="454"/>
                    <a:pt x="466" y="448"/>
                    <a:pt x="448" y="448"/>
                  </a:cubicBezTo>
                  <a:cubicBezTo>
                    <a:pt x="426" y="448"/>
                    <a:pt x="404" y="457"/>
                    <a:pt x="388" y="473"/>
                  </a:cubicBezTo>
                  <a:cubicBezTo>
                    <a:pt x="372" y="489"/>
                    <a:pt x="363" y="511"/>
                    <a:pt x="363" y="533"/>
                  </a:cubicBezTo>
                  <a:cubicBezTo>
                    <a:pt x="363" y="556"/>
                    <a:pt x="372" y="578"/>
                    <a:pt x="388" y="594"/>
                  </a:cubicBezTo>
                  <a:cubicBezTo>
                    <a:pt x="389" y="595"/>
                    <a:pt x="389" y="595"/>
                    <a:pt x="389" y="595"/>
                  </a:cubicBezTo>
                  <a:cubicBezTo>
                    <a:pt x="346" y="622"/>
                    <a:pt x="296" y="636"/>
                    <a:pt x="245" y="636"/>
                  </a:cubicBezTo>
                  <a:cubicBezTo>
                    <a:pt x="208" y="636"/>
                    <a:pt x="172" y="629"/>
                    <a:pt x="138" y="614"/>
                  </a:cubicBezTo>
                  <a:cubicBezTo>
                    <a:pt x="138" y="520"/>
                    <a:pt x="138" y="520"/>
                    <a:pt x="138" y="520"/>
                  </a:cubicBezTo>
                  <a:lnTo>
                    <a:pt x="58" y="520"/>
                  </a:lnTo>
                  <a:close/>
                  <a:moveTo>
                    <a:pt x="128" y="700"/>
                  </a:moveTo>
                  <a:cubicBezTo>
                    <a:pt x="128" y="716"/>
                    <a:pt x="115" y="730"/>
                    <a:pt x="98" y="730"/>
                  </a:cubicBezTo>
                  <a:cubicBezTo>
                    <a:pt x="81" y="730"/>
                    <a:pt x="68" y="716"/>
                    <a:pt x="68" y="700"/>
                  </a:cubicBezTo>
                  <a:cubicBezTo>
                    <a:pt x="68" y="565"/>
                    <a:pt x="68" y="565"/>
                    <a:pt x="68" y="565"/>
                  </a:cubicBezTo>
                  <a:cubicBezTo>
                    <a:pt x="128" y="565"/>
                    <a:pt x="128" y="565"/>
                    <a:pt x="128" y="565"/>
                  </a:cubicBezTo>
                  <a:lnTo>
                    <a:pt x="128" y="700"/>
                  </a:lnTo>
                  <a:close/>
                  <a:moveTo>
                    <a:pt x="128" y="556"/>
                  </a:moveTo>
                  <a:cubicBezTo>
                    <a:pt x="68" y="556"/>
                    <a:pt x="68" y="556"/>
                    <a:pt x="68" y="556"/>
                  </a:cubicBezTo>
                  <a:cubicBezTo>
                    <a:pt x="68" y="530"/>
                    <a:pt x="68" y="530"/>
                    <a:pt x="68" y="530"/>
                  </a:cubicBezTo>
                  <a:cubicBezTo>
                    <a:pt x="128" y="530"/>
                    <a:pt x="128" y="530"/>
                    <a:pt x="128" y="530"/>
                  </a:cubicBezTo>
                  <a:lnTo>
                    <a:pt x="128" y="556"/>
                  </a:lnTo>
                  <a:close/>
                  <a:moveTo>
                    <a:pt x="153" y="264"/>
                  </a:moveTo>
                  <a:cubicBezTo>
                    <a:pt x="153" y="261"/>
                    <a:pt x="155" y="258"/>
                    <a:pt x="158" y="256"/>
                  </a:cubicBezTo>
                  <a:cubicBezTo>
                    <a:pt x="160" y="255"/>
                    <a:pt x="162" y="254"/>
                    <a:pt x="165" y="254"/>
                  </a:cubicBezTo>
                  <a:cubicBezTo>
                    <a:pt x="165" y="254"/>
                    <a:pt x="166" y="254"/>
                    <a:pt x="167" y="254"/>
                  </a:cubicBezTo>
                  <a:cubicBezTo>
                    <a:pt x="170" y="255"/>
                    <a:pt x="173" y="257"/>
                    <a:pt x="175" y="259"/>
                  </a:cubicBezTo>
                  <a:cubicBezTo>
                    <a:pt x="179" y="265"/>
                    <a:pt x="177" y="272"/>
                    <a:pt x="172" y="276"/>
                  </a:cubicBezTo>
                  <a:cubicBezTo>
                    <a:pt x="169" y="278"/>
                    <a:pt x="166" y="279"/>
                    <a:pt x="163" y="278"/>
                  </a:cubicBezTo>
                  <a:cubicBezTo>
                    <a:pt x="159" y="278"/>
                    <a:pt x="157" y="276"/>
                    <a:pt x="155" y="273"/>
                  </a:cubicBezTo>
                  <a:cubicBezTo>
                    <a:pt x="153" y="271"/>
                    <a:pt x="152" y="267"/>
                    <a:pt x="153" y="264"/>
                  </a:cubicBezTo>
                  <a:close/>
                  <a:moveTo>
                    <a:pt x="84" y="20"/>
                  </a:moveTo>
                  <a:cubicBezTo>
                    <a:pt x="85" y="14"/>
                    <a:pt x="90" y="10"/>
                    <a:pt x="96" y="10"/>
                  </a:cubicBezTo>
                  <a:cubicBezTo>
                    <a:pt x="96" y="10"/>
                    <a:pt x="97" y="10"/>
                    <a:pt x="98" y="10"/>
                  </a:cubicBezTo>
                  <a:cubicBezTo>
                    <a:pt x="101" y="10"/>
                    <a:pt x="104" y="12"/>
                    <a:pt x="106" y="15"/>
                  </a:cubicBezTo>
                  <a:cubicBezTo>
                    <a:pt x="108" y="17"/>
                    <a:pt x="108" y="21"/>
                    <a:pt x="108" y="24"/>
                  </a:cubicBezTo>
                  <a:cubicBezTo>
                    <a:pt x="107" y="27"/>
                    <a:pt x="106" y="30"/>
                    <a:pt x="103" y="32"/>
                  </a:cubicBezTo>
                  <a:cubicBezTo>
                    <a:pt x="101" y="34"/>
                    <a:pt x="97" y="35"/>
                    <a:pt x="94" y="34"/>
                  </a:cubicBezTo>
                  <a:cubicBezTo>
                    <a:pt x="88" y="33"/>
                    <a:pt x="83" y="27"/>
                    <a:pt x="84" y="20"/>
                  </a:cubicBezTo>
                  <a:close/>
                  <a:moveTo>
                    <a:pt x="79" y="175"/>
                  </a:moveTo>
                  <a:cubicBezTo>
                    <a:pt x="62" y="175"/>
                    <a:pt x="48" y="161"/>
                    <a:pt x="48" y="144"/>
                  </a:cubicBezTo>
                  <a:cubicBezTo>
                    <a:pt x="48" y="127"/>
                    <a:pt x="62" y="114"/>
                    <a:pt x="79" y="114"/>
                  </a:cubicBezTo>
                  <a:cubicBezTo>
                    <a:pt x="96" y="114"/>
                    <a:pt x="109" y="127"/>
                    <a:pt x="109" y="144"/>
                  </a:cubicBezTo>
                  <a:cubicBezTo>
                    <a:pt x="109" y="161"/>
                    <a:pt x="96" y="175"/>
                    <a:pt x="79" y="175"/>
                  </a:cubicBezTo>
                  <a:close/>
                  <a:moveTo>
                    <a:pt x="484" y="363"/>
                  </a:moveTo>
                  <a:cubicBezTo>
                    <a:pt x="421" y="292"/>
                    <a:pt x="421" y="292"/>
                    <a:pt x="421" y="292"/>
                  </a:cubicBezTo>
                  <a:cubicBezTo>
                    <a:pt x="417" y="286"/>
                    <a:pt x="415" y="279"/>
                    <a:pt x="415" y="272"/>
                  </a:cubicBezTo>
                  <a:cubicBezTo>
                    <a:pt x="415" y="253"/>
                    <a:pt x="431" y="237"/>
                    <a:pt x="451" y="237"/>
                  </a:cubicBezTo>
                  <a:cubicBezTo>
                    <a:pt x="462" y="237"/>
                    <a:pt x="473" y="243"/>
                    <a:pt x="480" y="253"/>
                  </a:cubicBezTo>
                  <a:cubicBezTo>
                    <a:pt x="484" y="259"/>
                    <a:pt x="484" y="259"/>
                    <a:pt x="484" y="259"/>
                  </a:cubicBezTo>
                  <a:cubicBezTo>
                    <a:pt x="488" y="253"/>
                    <a:pt x="488" y="253"/>
                    <a:pt x="488" y="253"/>
                  </a:cubicBezTo>
                  <a:cubicBezTo>
                    <a:pt x="494" y="243"/>
                    <a:pt x="505" y="237"/>
                    <a:pt x="517" y="237"/>
                  </a:cubicBezTo>
                  <a:cubicBezTo>
                    <a:pt x="536" y="237"/>
                    <a:pt x="552" y="253"/>
                    <a:pt x="552" y="272"/>
                  </a:cubicBezTo>
                  <a:cubicBezTo>
                    <a:pt x="552" y="279"/>
                    <a:pt x="550" y="286"/>
                    <a:pt x="546" y="292"/>
                  </a:cubicBezTo>
                  <a:lnTo>
                    <a:pt x="484" y="363"/>
                  </a:lnTo>
                  <a:close/>
                  <a:moveTo>
                    <a:pt x="373" y="533"/>
                  </a:moveTo>
                  <a:cubicBezTo>
                    <a:pt x="373" y="492"/>
                    <a:pt x="407" y="458"/>
                    <a:pt x="448" y="458"/>
                  </a:cubicBezTo>
                  <a:cubicBezTo>
                    <a:pt x="490" y="458"/>
                    <a:pt x="524" y="492"/>
                    <a:pt x="524" y="533"/>
                  </a:cubicBezTo>
                  <a:cubicBezTo>
                    <a:pt x="524" y="575"/>
                    <a:pt x="490" y="609"/>
                    <a:pt x="448" y="609"/>
                  </a:cubicBezTo>
                  <a:cubicBezTo>
                    <a:pt x="407" y="609"/>
                    <a:pt x="373" y="575"/>
                    <a:pt x="373" y="5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1" name="Content Placeholder 4"/>
          <p:cNvSpPr txBox="1">
            <a:spLocks/>
          </p:cNvSpPr>
          <p:nvPr/>
        </p:nvSpPr>
        <p:spPr bwMode="gray">
          <a:xfrm>
            <a:off x="1104650" y="1607107"/>
            <a:ext cx="4914013" cy="4751999"/>
          </a:xfrm>
          <a:prstGeom prst="rect">
            <a:avLst/>
          </a:prstGeom>
        </p:spPr>
        <p:txBody>
          <a:bodyPr vert="horz" lIns="0" tIns="0" rIns="0" bIns="0" rtlCol="0">
            <a:noAutofit/>
          </a:bodyPr>
          <a:lstStyle>
            <a:lvl1pPr marL="0" indent="0" algn="l" defTabSz="914388"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69996" indent="-269996" algn="l" defTabSz="914388"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39992" indent="-269996" algn="l" defTabSz="914388"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09988" indent="-269996" algn="l" defTabSz="914388"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79984" indent="-269996" algn="l" defTabSz="914388"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79984" indent="-269996" algn="l" defTabSz="914388"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79984" indent="-269996" algn="l" defTabSz="914388"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79984" indent="-269996" algn="l" defTabSz="914388"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79984" indent="-269996" algn="l" defTabSz="914388"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lgn="ctr"/>
            <a:r>
              <a:rPr lang="en-US" sz="2400" b="1" i="1" dirty="0">
                <a:solidFill>
                  <a:schemeClr val="bg1"/>
                </a:solidFill>
              </a:rPr>
              <a:t>But the truth is that people aged 30 to 44 spend just </a:t>
            </a:r>
          </a:p>
          <a:p>
            <a:pPr algn="ctr"/>
            <a:r>
              <a:rPr lang="en-US" sz="3600" b="1" i="1" dirty="0">
                <a:solidFill>
                  <a:schemeClr val="dk2"/>
                </a:solidFill>
              </a:rPr>
              <a:t>9</a:t>
            </a:r>
            <a:r>
              <a:rPr lang="en-US" sz="2400" b="1" i="1" dirty="0"/>
              <a:t> </a:t>
            </a:r>
            <a:r>
              <a:rPr lang="en-US" sz="2400" b="1" i="1" dirty="0">
                <a:solidFill>
                  <a:schemeClr val="bg1"/>
                </a:solidFill>
              </a:rPr>
              <a:t>minutes a day </a:t>
            </a:r>
            <a:br>
              <a:rPr lang="en-US" sz="2400" b="1" i="1" dirty="0">
                <a:solidFill>
                  <a:schemeClr val="bg1"/>
                </a:solidFill>
              </a:rPr>
            </a:br>
            <a:r>
              <a:rPr lang="en-US" sz="2400" b="1" i="1" dirty="0">
                <a:solidFill>
                  <a:schemeClr val="bg1"/>
                </a:solidFill>
              </a:rPr>
              <a:t>(=</a:t>
            </a:r>
            <a:r>
              <a:rPr lang="en-US" sz="2400" b="1" i="1" dirty="0">
                <a:solidFill>
                  <a:srgbClr val="FF0000"/>
                </a:solidFill>
              </a:rPr>
              <a:t>20,6</a:t>
            </a:r>
            <a:r>
              <a:rPr lang="en-US" sz="2400" b="1" i="1" dirty="0"/>
              <a:t> </a:t>
            </a:r>
            <a:r>
              <a:rPr lang="en-US" sz="2400" b="1" i="1" dirty="0">
                <a:solidFill>
                  <a:schemeClr val="bg1"/>
                </a:solidFill>
              </a:rPr>
              <a:t>days in 5 years) </a:t>
            </a:r>
          </a:p>
          <a:p>
            <a:pPr algn="ctr"/>
            <a:r>
              <a:rPr lang="en-US" sz="2400" b="1" i="1" dirty="0">
                <a:solidFill>
                  <a:schemeClr val="bg1"/>
                </a:solidFill>
              </a:rPr>
              <a:t>on average on improving their qualifications. </a:t>
            </a:r>
          </a:p>
          <a:p>
            <a:pPr algn="ctr"/>
            <a:r>
              <a:rPr lang="en-US" sz="2400" b="1" i="1" dirty="0">
                <a:solidFill>
                  <a:schemeClr val="bg1"/>
                </a:solidFill>
              </a:rPr>
              <a:t>And for people aged 45 to 64, the figure is even lower only </a:t>
            </a:r>
            <a:r>
              <a:rPr lang="en-US" sz="3600" b="1" i="1" dirty="0">
                <a:solidFill>
                  <a:schemeClr val="dk2"/>
                </a:solidFill>
              </a:rPr>
              <a:t>4</a:t>
            </a:r>
            <a:r>
              <a:rPr lang="en-US" sz="2400" b="1" i="1" dirty="0"/>
              <a:t> </a:t>
            </a:r>
            <a:r>
              <a:rPr lang="en-US" sz="2400" b="1" i="1" dirty="0">
                <a:solidFill>
                  <a:schemeClr val="bg1"/>
                </a:solidFill>
              </a:rPr>
              <a:t>minutes </a:t>
            </a:r>
            <a:br>
              <a:rPr lang="en-US" sz="2400" b="1" i="1" dirty="0">
                <a:solidFill>
                  <a:schemeClr val="bg1"/>
                </a:solidFill>
              </a:rPr>
            </a:br>
            <a:r>
              <a:rPr lang="en-US" sz="2400" b="1" i="1" dirty="0">
                <a:solidFill>
                  <a:schemeClr val="bg1"/>
                </a:solidFill>
              </a:rPr>
              <a:t>(=</a:t>
            </a:r>
            <a:r>
              <a:rPr lang="en-US" sz="2400" b="1" i="1" dirty="0">
                <a:solidFill>
                  <a:srgbClr val="FF0000"/>
                </a:solidFill>
              </a:rPr>
              <a:t>9,17</a:t>
            </a:r>
            <a:r>
              <a:rPr lang="en-US" sz="2400" b="1" i="1" dirty="0"/>
              <a:t> </a:t>
            </a:r>
            <a:r>
              <a:rPr lang="en-US" sz="2400" b="1" i="1" dirty="0">
                <a:solidFill>
                  <a:schemeClr val="bg1"/>
                </a:solidFill>
              </a:rPr>
              <a:t>days in 5 years)</a:t>
            </a:r>
            <a:endParaRPr lang="en-US" sz="2400" b="1" dirty="0">
              <a:solidFill>
                <a:schemeClr val="bg1"/>
              </a:solidFill>
            </a:endParaRPr>
          </a:p>
        </p:txBody>
      </p:sp>
      <p:pic>
        <p:nvPicPr>
          <p:cNvPr id="22" name="Picture 21"/>
          <p:cNvPicPr>
            <a:picLocks noChangeAspect="1"/>
          </p:cNvPicPr>
          <p:nvPr/>
        </p:nvPicPr>
        <p:blipFill rotWithShape="1">
          <a:blip r:embed="rId7">
            <a:extLst>
              <a:ext uri="{28A0092B-C50C-407E-A947-70E740481C1C}">
                <a14:useLocalDpi xmlns:a14="http://schemas.microsoft.com/office/drawing/2010/main" val="0"/>
              </a:ext>
            </a:extLst>
          </a:blip>
          <a:srcRect l="21371" t="22732" r="19905" b="13155"/>
          <a:stretch/>
        </p:blipFill>
        <p:spPr>
          <a:xfrm>
            <a:off x="7506269" y="1596624"/>
            <a:ext cx="4094328" cy="4470135"/>
          </a:xfrm>
          <a:prstGeom prst="rect">
            <a:avLst/>
          </a:prstGeom>
        </p:spPr>
      </p:pic>
      <p:sp>
        <p:nvSpPr>
          <p:cNvPr id="23" name="Rectangle 22"/>
          <p:cNvSpPr/>
          <p:nvPr/>
        </p:nvSpPr>
        <p:spPr>
          <a:xfrm>
            <a:off x="7702680" y="5807168"/>
            <a:ext cx="3701505" cy="246221"/>
          </a:xfrm>
          <a:prstGeom prst="rect">
            <a:avLst/>
          </a:prstGeom>
        </p:spPr>
        <p:txBody>
          <a:bodyPr wrap="square">
            <a:spAutoFit/>
          </a:bodyPr>
          <a:lstStyle/>
          <a:p>
            <a:r>
              <a:rPr lang="en-US" sz="1000" dirty="0"/>
              <a:t>Source: Future of Jobs Survey 2018, World Economic Forum.</a:t>
            </a:r>
          </a:p>
        </p:txBody>
      </p:sp>
      <p:sp>
        <p:nvSpPr>
          <p:cNvPr id="24" name="TextBox 23"/>
          <p:cNvSpPr txBox="1"/>
          <p:nvPr/>
        </p:nvSpPr>
        <p:spPr bwMode="gray">
          <a:xfrm>
            <a:off x="6428096" y="3374491"/>
            <a:ext cx="914400" cy="914400"/>
          </a:xfrm>
          <a:prstGeom prst="rect">
            <a:avLst/>
          </a:prstGeom>
          <a:noFill/>
        </p:spPr>
        <p:txBody>
          <a:bodyPr wrap="none" lIns="0" tIns="0" rIns="0" bIns="0" rtlCol="0">
            <a:noAutofit/>
          </a:bodyPr>
          <a:lstStyle/>
          <a:p>
            <a:r>
              <a:rPr lang="en-US" sz="6000" dirty="0">
                <a:solidFill>
                  <a:schemeClr val="bg1"/>
                </a:solidFill>
              </a:rPr>
              <a:t>vs </a:t>
            </a:r>
          </a:p>
        </p:txBody>
      </p:sp>
      <p:sp>
        <p:nvSpPr>
          <p:cNvPr id="28" name="Subtitle 1"/>
          <p:cNvSpPr>
            <a:spLocks noGrp="1"/>
          </p:cNvSpPr>
          <p:nvPr>
            <p:ph type="subTitle" idx="13"/>
          </p:nvPr>
        </p:nvSpPr>
        <p:spPr>
          <a:xfrm>
            <a:off x="1814348" y="1001819"/>
            <a:ext cx="10798461" cy="252000"/>
          </a:xfrm>
        </p:spPr>
        <p:txBody>
          <a:bodyPr/>
          <a:lstStyle/>
          <a:p>
            <a:r>
              <a:rPr lang="de-DE" dirty="0">
                <a:solidFill>
                  <a:schemeClr val="bg1"/>
                </a:solidFill>
              </a:rPr>
              <a:t>Quelle: Datenreport 2016 (Sozialbericht) der Bundeszentrale für politische Bildung</a:t>
            </a:r>
            <a:endParaRPr lang="en-US" dirty="0">
              <a:solidFill>
                <a:schemeClr val="bg1"/>
              </a:solidFill>
            </a:endParaRPr>
          </a:p>
        </p:txBody>
      </p:sp>
    </p:spTree>
    <p:extLst>
      <p:ext uri="{BB962C8B-B14F-4D97-AF65-F5344CB8AC3E}">
        <p14:creationId xmlns:p14="http://schemas.microsoft.com/office/powerpoint/2010/main" val="3573915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hteck 9">
            <a:extLst>
              <a:ext uri="{FF2B5EF4-FFF2-40B4-BE49-F238E27FC236}">
                <a16:creationId xmlns:a16="http://schemas.microsoft.com/office/drawing/2014/main" xmlns="" id="{475CC97F-6934-47BE-A235-2E86251F1859}"/>
              </a:ext>
            </a:extLst>
          </p:cNvPr>
          <p:cNvSpPr/>
          <p:nvPr/>
        </p:nvSpPr>
        <p:spPr bwMode="gray">
          <a:xfrm>
            <a:off x="1438274" y="-13708"/>
            <a:ext cx="10768239" cy="6884177"/>
          </a:xfrm>
          <a:prstGeom prst="rect">
            <a:avLst/>
          </a:prstGeom>
          <a:solidFill>
            <a:srgbClr val="004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6" name="TextBox 5"/>
          <p:cNvSpPr txBox="1"/>
          <p:nvPr/>
        </p:nvSpPr>
        <p:spPr bwMode="gray">
          <a:xfrm>
            <a:off x="8885119" y="3734822"/>
            <a:ext cx="914400" cy="914400"/>
          </a:xfrm>
          <a:prstGeom prst="rect">
            <a:avLst/>
          </a:prstGeom>
          <a:noFill/>
        </p:spPr>
        <p:txBody>
          <a:bodyPr wrap="none" lIns="0" tIns="0" rIns="0" bIns="0" rtlCol="0">
            <a:noAutofit/>
          </a:bodyPr>
          <a:lstStyle/>
          <a:p>
            <a:r>
              <a:rPr lang="en-US" sz="4800" b="1" dirty="0">
                <a:solidFill>
                  <a:schemeClr val="bg1"/>
                </a:solidFill>
              </a:rPr>
              <a:t>or? </a:t>
            </a:r>
          </a:p>
        </p:txBody>
      </p:sp>
      <p:sp>
        <p:nvSpPr>
          <p:cNvPr id="74" name="Rechteck 6">
            <a:extLst>
              <a:ext uri="{FF2B5EF4-FFF2-40B4-BE49-F238E27FC236}">
                <a16:creationId xmlns:a16="http://schemas.microsoft.com/office/drawing/2014/main" xmlns="" id="{9B83B1FB-BDB8-4C4D-B2F0-A78CE31CF8CB}"/>
              </a:ext>
            </a:extLst>
          </p:cNvPr>
          <p:cNvSpPr/>
          <p:nvPr/>
        </p:nvSpPr>
        <p:spPr bwMode="auto">
          <a:xfrm flipH="1" flipV="1">
            <a:off x="-2296" y="-12262"/>
            <a:ext cx="8039518" cy="6882565"/>
          </a:xfrm>
          <a:custGeom>
            <a:avLst/>
            <a:gdLst/>
            <a:ahLst/>
            <a:cxnLst/>
            <a:rect l="l" t="t" r="r" b="b"/>
            <a:pathLst>
              <a:path w="7787099" h="6882565">
                <a:moveTo>
                  <a:pt x="0" y="6882565"/>
                </a:moveTo>
                <a:lnTo>
                  <a:pt x="2976133" y="0"/>
                </a:lnTo>
                <a:lnTo>
                  <a:pt x="7787099" y="0"/>
                </a:lnTo>
                <a:lnTo>
                  <a:pt x="6553534" y="6879896"/>
                </a:lnTo>
                <a:close/>
              </a:path>
            </a:pathLst>
          </a:custGeom>
          <a:gradFill flip="none" rotWithShape="1">
            <a:gsLst>
              <a:gs pos="0">
                <a:srgbClr val="005A7A"/>
              </a:gs>
              <a:gs pos="100000">
                <a:srgbClr val="0090C5">
                  <a:lumMod val="50000"/>
                </a:srgbClr>
              </a:gs>
            </a:gsLst>
            <a:lin ang="162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defTabSz="1221456">
              <a:defRPr/>
            </a:pPr>
            <a:endParaRPr lang="de-DE" sz="2400" kern="0" dirty="0" err="1">
              <a:solidFill>
                <a:srgbClr val="4D4D4D"/>
              </a:solidFill>
            </a:endParaRPr>
          </a:p>
        </p:txBody>
      </p:sp>
      <p:sp>
        <p:nvSpPr>
          <p:cNvPr id="7" name="Titel 6">
            <a:extLst>
              <a:ext uri="{FF2B5EF4-FFF2-40B4-BE49-F238E27FC236}">
                <a16:creationId xmlns:a16="http://schemas.microsoft.com/office/drawing/2014/main" xmlns="" id="{7D5BD909-61B7-4F8E-B2F9-C0CE944E0A79}"/>
              </a:ext>
            </a:extLst>
          </p:cNvPr>
          <p:cNvSpPr>
            <a:spLocks noGrp="1"/>
          </p:cNvSpPr>
          <p:nvPr>
            <p:ph type="title"/>
          </p:nvPr>
        </p:nvSpPr>
        <p:spPr/>
        <p:txBody>
          <a:bodyPr/>
          <a:lstStyle/>
          <a:p>
            <a:r>
              <a:rPr lang="en-US" sz="4400" b="1" dirty="0">
                <a:solidFill>
                  <a:srgbClr val="FFFFFF"/>
                </a:solidFill>
              </a:rPr>
              <a:t>How does your calendar look like… </a:t>
            </a:r>
          </a:p>
        </p:txBody>
      </p:sp>
      <p:sp>
        <p:nvSpPr>
          <p:cNvPr id="2" name="Fußzeilenplatzhalter 1">
            <a:extLst>
              <a:ext uri="{FF2B5EF4-FFF2-40B4-BE49-F238E27FC236}">
                <a16:creationId xmlns:a16="http://schemas.microsoft.com/office/drawing/2014/main" xmlns="" id="{EF2F8EE4-4E4D-442C-95B9-B6B4DEB71CA2}"/>
              </a:ext>
            </a:extLst>
          </p:cNvPr>
          <p:cNvSpPr>
            <a:spLocks noGrp="1"/>
          </p:cNvSpPr>
          <p:nvPr>
            <p:ph type="ftr" sz="quarter" idx="16"/>
          </p:nvPr>
        </p:nvSpPr>
        <p:spPr/>
        <p:txBody>
          <a:bodyPr/>
          <a:lstStyle/>
          <a:p>
            <a:r>
              <a:rPr lang="en-US" dirty="0">
                <a:solidFill>
                  <a:srgbClr val="FFFFFF"/>
                </a:solidFill>
              </a:rPr>
              <a:t>/// Advancing Digital  at Bayer /// Data as an Asset Convention ///  September 2019</a:t>
            </a:r>
          </a:p>
        </p:txBody>
      </p:sp>
      <p:sp>
        <p:nvSpPr>
          <p:cNvPr id="3" name="Foliennummernplatzhalter 2">
            <a:extLst>
              <a:ext uri="{FF2B5EF4-FFF2-40B4-BE49-F238E27FC236}">
                <a16:creationId xmlns:a16="http://schemas.microsoft.com/office/drawing/2014/main" xmlns="" id="{8409A87D-B088-447E-80CA-B9AEB32142A0}"/>
              </a:ext>
            </a:extLst>
          </p:cNvPr>
          <p:cNvSpPr>
            <a:spLocks noGrp="1"/>
          </p:cNvSpPr>
          <p:nvPr>
            <p:ph type="sldNum" sz="quarter" idx="17"/>
          </p:nvPr>
        </p:nvSpPr>
        <p:spPr/>
        <p:txBody>
          <a:bodyPr/>
          <a:lstStyle/>
          <a:p>
            <a:fld id="{EEAD9179-7A6B-4268-BEB2-F3B8EB06115B}" type="slidenum">
              <a:rPr lang="en-US" smtClean="0">
                <a:solidFill>
                  <a:srgbClr val="00BCFF"/>
                </a:solidFill>
              </a:rPr>
              <a:pPr/>
              <a:t>7</a:t>
            </a:fld>
            <a:endParaRPr lang="en-US" dirty="0">
              <a:solidFill>
                <a:srgbClr val="00BCFF"/>
              </a:solidFill>
            </a:endParaRPr>
          </a:p>
        </p:txBody>
      </p:sp>
      <p:grpSp>
        <p:nvGrpSpPr>
          <p:cNvPr id="140" name="Gruppieren 139">
            <a:extLst>
              <a:ext uri="{FF2B5EF4-FFF2-40B4-BE49-F238E27FC236}">
                <a16:creationId xmlns:a16="http://schemas.microsoft.com/office/drawing/2014/main" xmlns="" id="{693FF34E-9AFA-46A7-9E57-368571AA9DFA}"/>
              </a:ext>
            </a:extLst>
          </p:cNvPr>
          <p:cNvGrpSpPr/>
          <p:nvPr/>
        </p:nvGrpSpPr>
        <p:grpSpPr>
          <a:xfrm>
            <a:off x="-2151" y="1189995"/>
            <a:ext cx="998538" cy="1546225"/>
            <a:chOff x="-2151" y="1189995"/>
            <a:chExt cx="998538" cy="1546225"/>
          </a:xfrm>
        </p:grpSpPr>
        <p:sp>
          <p:nvSpPr>
            <p:cNvPr id="141" name="Freeform 6">
              <a:extLst>
                <a:ext uri="{FF2B5EF4-FFF2-40B4-BE49-F238E27FC236}">
                  <a16:creationId xmlns:a16="http://schemas.microsoft.com/office/drawing/2014/main" xmlns="" id="{A2BCDCDB-5F91-4B5E-B8B1-E7426BAAE111}"/>
                </a:ext>
              </a:extLst>
            </p:cNvPr>
            <p:cNvSpPr>
              <a:spLocks/>
            </p:cNvSpPr>
            <p:nvPr/>
          </p:nvSpPr>
          <p:spPr bwMode="auto">
            <a:xfrm>
              <a:off x="-2151" y="2610807"/>
              <a:ext cx="788988" cy="125413"/>
            </a:xfrm>
            <a:custGeom>
              <a:avLst/>
              <a:gdLst>
                <a:gd name="T0" fmla="*/ 245 w 494"/>
                <a:gd name="T1" fmla="*/ 70 h 79"/>
                <a:gd name="T2" fmla="*/ 0 w 494"/>
                <a:gd name="T3" fmla="*/ 2 h 79"/>
                <a:gd name="T4" fmla="*/ 0 w 494"/>
                <a:gd name="T5" fmla="*/ 13 h 79"/>
                <a:gd name="T6" fmla="*/ 56 w 494"/>
                <a:gd name="T7" fmla="*/ 41 h 79"/>
                <a:gd name="T8" fmla="*/ 147 w 494"/>
                <a:gd name="T9" fmla="*/ 69 h 79"/>
                <a:gd name="T10" fmla="*/ 245 w 494"/>
                <a:gd name="T11" fmla="*/ 79 h 79"/>
                <a:gd name="T12" fmla="*/ 343 w 494"/>
                <a:gd name="T13" fmla="*/ 69 h 79"/>
                <a:gd name="T14" fmla="*/ 435 w 494"/>
                <a:gd name="T15" fmla="*/ 41 h 79"/>
                <a:gd name="T16" fmla="*/ 492 w 494"/>
                <a:gd name="T17" fmla="*/ 12 h 79"/>
                <a:gd name="T18" fmla="*/ 494 w 494"/>
                <a:gd name="T19" fmla="*/ 0 h 79"/>
                <a:gd name="T20" fmla="*/ 245 w 494"/>
                <a:gd name="T21"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4" h="79">
                  <a:moveTo>
                    <a:pt x="245" y="70"/>
                  </a:moveTo>
                  <a:cubicBezTo>
                    <a:pt x="156" y="70"/>
                    <a:pt x="72" y="45"/>
                    <a:pt x="0" y="2"/>
                  </a:cubicBezTo>
                  <a:cubicBezTo>
                    <a:pt x="0" y="13"/>
                    <a:pt x="0" y="13"/>
                    <a:pt x="0" y="13"/>
                  </a:cubicBezTo>
                  <a:cubicBezTo>
                    <a:pt x="18" y="24"/>
                    <a:pt x="37" y="33"/>
                    <a:pt x="56" y="41"/>
                  </a:cubicBezTo>
                  <a:cubicBezTo>
                    <a:pt x="85" y="54"/>
                    <a:pt x="116" y="63"/>
                    <a:pt x="147" y="69"/>
                  </a:cubicBezTo>
                  <a:cubicBezTo>
                    <a:pt x="179" y="76"/>
                    <a:pt x="212" y="79"/>
                    <a:pt x="245" y="79"/>
                  </a:cubicBezTo>
                  <a:cubicBezTo>
                    <a:pt x="278" y="79"/>
                    <a:pt x="311" y="76"/>
                    <a:pt x="343" y="69"/>
                  </a:cubicBezTo>
                  <a:cubicBezTo>
                    <a:pt x="375" y="63"/>
                    <a:pt x="405" y="54"/>
                    <a:pt x="435" y="41"/>
                  </a:cubicBezTo>
                  <a:cubicBezTo>
                    <a:pt x="454" y="33"/>
                    <a:pt x="473" y="23"/>
                    <a:pt x="492" y="12"/>
                  </a:cubicBezTo>
                  <a:cubicBezTo>
                    <a:pt x="494" y="0"/>
                    <a:pt x="494" y="0"/>
                    <a:pt x="494" y="0"/>
                  </a:cubicBezTo>
                  <a:cubicBezTo>
                    <a:pt x="421" y="44"/>
                    <a:pt x="336" y="70"/>
                    <a:pt x="245"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2" name="Freeform 7">
              <a:extLst>
                <a:ext uri="{FF2B5EF4-FFF2-40B4-BE49-F238E27FC236}">
                  <a16:creationId xmlns:a16="http://schemas.microsoft.com/office/drawing/2014/main" xmlns="" id="{0F67D967-272A-43C9-A84D-5D3CF66A0D66}"/>
                </a:ext>
              </a:extLst>
            </p:cNvPr>
            <p:cNvSpPr>
              <a:spLocks/>
            </p:cNvSpPr>
            <p:nvPr/>
          </p:nvSpPr>
          <p:spPr bwMode="auto">
            <a:xfrm>
              <a:off x="-2151" y="1189995"/>
              <a:ext cx="998538" cy="311150"/>
            </a:xfrm>
            <a:custGeom>
              <a:avLst/>
              <a:gdLst>
                <a:gd name="T0" fmla="*/ 517 w 626"/>
                <a:gd name="T1" fmla="*/ 83 h 196"/>
                <a:gd name="T2" fmla="*/ 435 w 626"/>
                <a:gd name="T3" fmla="*/ 38 h 196"/>
                <a:gd name="T4" fmla="*/ 343 w 626"/>
                <a:gd name="T5" fmla="*/ 9 h 196"/>
                <a:gd name="T6" fmla="*/ 245 w 626"/>
                <a:gd name="T7" fmla="*/ 0 h 196"/>
                <a:gd name="T8" fmla="*/ 147 w 626"/>
                <a:gd name="T9" fmla="*/ 9 h 196"/>
                <a:gd name="T10" fmla="*/ 56 w 626"/>
                <a:gd name="T11" fmla="*/ 38 h 196"/>
                <a:gd name="T12" fmla="*/ 0 w 626"/>
                <a:gd name="T13" fmla="*/ 66 h 196"/>
                <a:gd name="T14" fmla="*/ 0 w 626"/>
                <a:gd name="T15" fmla="*/ 77 h 196"/>
                <a:gd name="T16" fmla="*/ 245 w 626"/>
                <a:gd name="T17" fmla="*/ 9 h 196"/>
                <a:gd name="T18" fmla="*/ 623 w 626"/>
                <a:gd name="T19" fmla="*/ 196 h 196"/>
                <a:gd name="T20" fmla="*/ 626 w 626"/>
                <a:gd name="T21" fmla="*/ 183 h 196"/>
                <a:gd name="T22" fmla="*/ 589 w 626"/>
                <a:gd name="T23" fmla="*/ 142 h 196"/>
                <a:gd name="T24" fmla="*/ 517 w 626"/>
                <a:gd name="T25" fmla="*/ 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6" h="196">
                  <a:moveTo>
                    <a:pt x="517" y="83"/>
                  </a:moveTo>
                  <a:cubicBezTo>
                    <a:pt x="491" y="65"/>
                    <a:pt x="464" y="50"/>
                    <a:pt x="435" y="38"/>
                  </a:cubicBezTo>
                  <a:cubicBezTo>
                    <a:pt x="405" y="25"/>
                    <a:pt x="375" y="16"/>
                    <a:pt x="343" y="9"/>
                  </a:cubicBezTo>
                  <a:cubicBezTo>
                    <a:pt x="311" y="3"/>
                    <a:pt x="278" y="0"/>
                    <a:pt x="245" y="0"/>
                  </a:cubicBezTo>
                  <a:cubicBezTo>
                    <a:pt x="212" y="0"/>
                    <a:pt x="179" y="3"/>
                    <a:pt x="147" y="9"/>
                  </a:cubicBezTo>
                  <a:cubicBezTo>
                    <a:pt x="116" y="16"/>
                    <a:pt x="85" y="25"/>
                    <a:pt x="56" y="38"/>
                  </a:cubicBezTo>
                  <a:cubicBezTo>
                    <a:pt x="37" y="46"/>
                    <a:pt x="18" y="55"/>
                    <a:pt x="0" y="66"/>
                  </a:cubicBezTo>
                  <a:cubicBezTo>
                    <a:pt x="0" y="77"/>
                    <a:pt x="0" y="77"/>
                    <a:pt x="0" y="77"/>
                  </a:cubicBezTo>
                  <a:cubicBezTo>
                    <a:pt x="72" y="34"/>
                    <a:pt x="156" y="9"/>
                    <a:pt x="245" y="9"/>
                  </a:cubicBezTo>
                  <a:cubicBezTo>
                    <a:pt x="399" y="9"/>
                    <a:pt x="536" y="82"/>
                    <a:pt x="623" y="196"/>
                  </a:cubicBezTo>
                  <a:cubicBezTo>
                    <a:pt x="626" y="183"/>
                    <a:pt x="626" y="183"/>
                    <a:pt x="626" y="183"/>
                  </a:cubicBezTo>
                  <a:cubicBezTo>
                    <a:pt x="614" y="169"/>
                    <a:pt x="602" y="155"/>
                    <a:pt x="589" y="142"/>
                  </a:cubicBezTo>
                  <a:cubicBezTo>
                    <a:pt x="567" y="120"/>
                    <a:pt x="543" y="100"/>
                    <a:pt x="517"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3" name="Freeform 8">
              <a:extLst>
                <a:ext uri="{FF2B5EF4-FFF2-40B4-BE49-F238E27FC236}">
                  <a16:creationId xmlns:a16="http://schemas.microsoft.com/office/drawing/2014/main" xmlns="" id="{F5AAFB50-8DC4-4BD9-965F-9EE40F28132C}"/>
                </a:ext>
              </a:extLst>
            </p:cNvPr>
            <p:cNvSpPr>
              <a:spLocks noEditPoints="1"/>
            </p:cNvSpPr>
            <p:nvPr/>
          </p:nvSpPr>
          <p:spPr bwMode="auto">
            <a:xfrm>
              <a:off x="145487" y="2099632"/>
              <a:ext cx="76200" cy="76200"/>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9 h 48"/>
                <a:gd name="T12" fmla="*/ 9 w 48"/>
                <a:gd name="T13" fmla="*/ 24 h 48"/>
                <a:gd name="T14" fmla="*/ 24 w 48"/>
                <a:gd name="T15" fmla="*/ 10 h 48"/>
                <a:gd name="T16" fmla="*/ 38 w 48"/>
                <a:gd name="T17" fmla="*/ 24 h 48"/>
                <a:gd name="T18" fmla="*/ 24 w 48"/>
                <a:gd name="T19"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8"/>
                    <a:pt x="11" y="48"/>
                    <a:pt x="24" y="48"/>
                  </a:cubicBezTo>
                  <a:cubicBezTo>
                    <a:pt x="37" y="48"/>
                    <a:pt x="48" y="38"/>
                    <a:pt x="48" y="24"/>
                  </a:cubicBezTo>
                  <a:cubicBezTo>
                    <a:pt x="48" y="11"/>
                    <a:pt x="37" y="0"/>
                    <a:pt x="24" y="0"/>
                  </a:cubicBezTo>
                  <a:close/>
                  <a:moveTo>
                    <a:pt x="24" y="39"/>
                  </a:moveTo>
                  <a:cubicBezTo>
                    <a:pt x="16" y="39"/>
                    <a:pt x="9" y="32"/>
                    <a:pt x="9" y="24"/>
                  </a:cubicBezTo>
                  <a:cubicBezTo>
                    <a:pt x="9" y="16"/>
                    <a:pt x="16" y="10"/>
                    <a:pt x="24" y="10"/>
                  </a:cubicBezTo>
                  <a:cubicBezTo>
                    <a:pt x="32" y="10"/>
                    <a:pt x="38" y="16"/>
                    <a:pt x="38" y="24"/>
                  </a:cubicBezTo>
                  <a:cubicBezTo>
                    <a:pt x="38" y="32"/>
                    <a:pt x="32" y="39"/>
                    <a:pt x="24" y="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4" name="Freeform 9">
              <a:extLst>
                <a:ext uri="{FF2B5EF4-FFF2-40B4-BE49-F238E27FC236}">
                  <a16:creationId xmlns:a16="http://schemas.microsoft.com/office/drawing/2014/main" xmlns="" id="{E30812D8-C8C7-414A-9384-844155C2FFCD}"/>
                </a:ext>
              </a:extLst>
            </p:cNvPr>
            <p:cNvSpPr>
              <a:spLocks noEditPoints="1"/>
            </p:cNvSpPr>
            <p:nvPr/>
          </p:nvSpPr>
          <p:spPr bwMode="auto">
            <a:xfrm>
              <a:off x="648725" y="2167895"/>
              <a:ext cx="130175" cy="128588"/>
            </a:xfrm>
            <a:custGeom>
              <a:avLst/>
              <a:gdLst>
                <a:gd name="T0" fmla="*/ 40 w 81"/>
                <a:gd name="T1" fmla="*/ 0 h 81"/>
                <a:gd name="T2" fmla="*/ 0 w 81"/>
                <a:gd name="T3" fmla="*/ 40 h 81"/>
                <a:gd name="T4" fmla="*/ 40 w 81"/>
                <a:gd name="T5" fmla="*/ 81 h 81"/>
                <a:gd name="T6" fmla="*/ 81 w 81"/>
                <a:gd name="T7" fmla="*/ 40 h 81"/>
                <a:gd name="T8" fmla="*/ 40 w 81"/>
                <a:gd name="T9" fmla="*/ 0 h 81"/>
                <a:gd name="T10" fmla="*/ 40 w 81"/>
                <a:gd name="T11" fmla="*/ 71 h 81"/>
                <a:gd name="T12" fmla="*/ 10 w 81"/>
                <a:gd name="T13" fmla="*/ 40 h 81"/>
                <a:gd name="T14" fmla="*/ 40 w 81"/>
                <a:gd name="T15" fmla="*/ 10 h 81"/>
                <a:gd name="T16" fmla="*/ 71 w 81"/>
                <a:gd name="T17" fmla="*/ 40 h 81"/>
                <a:gd name="T18" fmla="*/ 40 w 81"/>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18" y="0"/>
                    <a:pt x="0" y="18"/>
                    <a:pt x="0" y="40"/>
                  </a:cubicBezTo>
                  <a:cubicBezTo>
                    <a:pt x="0" y="63"/>
                    <a:pt x="18" y="81"/>
                    <a:pt x="40" y="81"/>
                  </a:cubicBezTo>
                  <a:cubicBezTo>
                    <a:pt x="63" y="81"/>
                    <a:pt x="81" y="63"/>
                    <a:pt x="81" y="40"/>
                  </a:cubicBezTo>
                  <a:cubicBezTo>
                    <a:pt x="81" y="18"/>
                    <a:pt x="63" y="0"/>
                    <a:pt x="40" y="0"/>
                  </a:cubicBezTo>
                  <a:close/>
                  <a:moveTo>
                    <a:pt x="40" y="71"/>
                  </a:moveTo>
                  <a:cubicBezTo>
                    <a:pt x="24" y="71"/>
                    <a:pt x="10" y="57"/>
                    <a:pt x="10" y="40"/>
                  </a:cubicBezTo>
                  <a:cubicBezTo>
                    <a:pt x="10" y="24"/>
                    <a:pt x="24" y="10"/>
                    <a:pt x="40" y="10"/>
                  </a:cubicBezTo>
                  <a:cubicBezTo>
                    <a:pt x="57" y="10"/>
                    <a:pt x="71" y="24"/>
                    <a:pt x="71" y="40"/>
                  </a:cubicBezTo>
                  <a:cubicBezTo>
                    <a:pt x="71" y="57"/>
                    <a:pt x="57" y="71"/>
                    <a:pt x="40"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5" name="Freeform 10">
              <a:extLst>
                <a:ext uri="{FF2B5EF4-FFF2-40B4-BE49-F238E27FC236}">
                  <a16:creationId xmlns:a16="http://schemas.microsoft.com/office/drawing/2014/main" xmlns="" id="{62F353F6-DE7E-4360-A7ED-C6A6FE5E4C40}"/>
                </a:ext>
              </a:extLst>
            </p:cNvPr>
            <p:cNvSpPr>
              <a:spLocks noEditPoints="1"/>
            </p:cNvSpPr>
            <p:nvPr/>
          </p:nvSpPr>
          <p:spPr bwMode="auto">
            <a:xfrm>
              <a:off x="613799" y="2132970"/>
              <a:ext cx="200025" cy="198438"/>
            </a:xfrm>
            <a:custGeom>
              <a:avLst/>
              <a:gdLst>
                <a:gd name="T0" fmla="*/ 62 w 125"/>
                <a:gd name="T1" fmla="*/ 0 h 125"/>
                <a:gd name="T2" fmla="*/ 0 w 125"/>
                <a:gd name="T3" fmla="*/ 62 h 125"/>
                <a:gd name="T4" fmla="*/ 62 w 125"/>
                <a:gd name="T5" fmla="*/ 125 h 125"/>
                <a:gd name="T6" fmla="*/ 125 w 125"/>
                <a:gd name="T7" fmla="*/ 62 h 125"/>
                <a:gd name="T8" fmla="*/ 62 w 125"/>
                <a:gd name="T9" fmla="*/ 0 h 125"/>
                <a:gd name="T10" fmla="*/ 62 w 125"/>
                <a:gd name="T11" fmla="*/ 115 h 125"/>
                <a:gd name="T12" fmla="*/ 9 w 125"/>
                <a:gd name="T13" fmla="*/ 62 h 125"/>
                <a:gd name="T14" fmla="*/ 62 w 125"/>
                <a:gd name="T15" fmla="*/ 9 h 125"/>
                <a:gd name="T16" fmla="*/ 115 w 125"/>
                <a:gd name="T17" fmla="*/ 62 h 125"/>
                <a:gd name="T18" fmla="*/ 62 w 125"/>
                <a:gd name="T19" fmla="*/ 11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62" y="0"/>
                  </a:moveTo>
                  <a:cubicBezTo>
                    <a:pt x="28" y="0"/>
                    <a:pt x="0" y="28"/>
                    <a:pt x="0" y="62"/>
                  </a:cubicBezTo>
                  <a:cubicBezTo>
                    <a:pt x="0" y="97"/>
                    <a:pt x="28" y="125"/>
                    <a:pt x="62" y="125"/>
                  </a:cubicBezTo>
                  <a:cubicBezTo>
                    <a:pt x="97" y="125"/>
                    <a:pt x="125" y="97"/>
                    <a:pt x="125" y="62"/>
                  </a:cubicBezTo>
                  <a:cubicBezTo>
                    <a:pt x="125" y="28"/>
                    <a:pt x="97" y="0"/>
                    <a:pt x="62" y="0"/>
                  </a:cubicBezTo>
                  <a:close/>
                  <a:moveTo>
                    <a:pt x="62" y="115"/>
                  </a:moveTo>
                  <a:cubicBezTo>
                    <a:pt x="33" y="115"/>
                    <a:pt x="9" y="92"/>
                    <a:pt x="9" y="62"/>
                  </a:cubicBezTo>
                  <a:cubicBezTo>
                    <a:pt x="9" y="33"/>
                    <a:pt x="33" y="9"/>
                    <a:pt x="62" y="9"/>
                  </a:cubicBezTo>
                  <a:cubicBezTo>
                    <a:pt x="92" y="9"/>
                    <a:pt x="115" y="33"/>
                    <a:pt x="115" y="62"/>
                  </a:cubicBezTo>
                  <a:cubicBezTo>
                    <a:pt x="115" y="92"/>
                    <a:pt x="92" y="115"/>
                    <a:pt x="62" y="1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6" name="Freeform 11">
              <a:extLst>
                <a:ext uri="{FF2B5EF4-FFF2-40B4-BE49-F238E27FC236}">
                  <a16:creationId xmlns:a16="http://schemas.microsoft.com/office/drawing/2014/main" xmlns="" id="{B7D81B13-232F-4D91-ACC9-0E4ED2C1FAC4}"/>
                </a:ext>
              </a:extLst>
            </p:cNvPr>
            <p:cNvSpPr>
              <a:spLocks noEditPoints="1"/>
            </p:cNvSpPr>
            <p:nvPr/>
          </p:nvSpPr>
          <p:spPr bwMode="auto">
            <a:xfrm>
              <a:off x="89924" y="2040895"/>
              <a:ext cx="57150" cy="55563"/>
            </a:xfrm>
            <a:custGeom>
              <a:avLst/>
              <a:gdLst>
                <a:gd name="T0" fmla="*/ 18 w 35"/>
                <a:gd name="T1" fmla="*/ 0 h 35"/>
                <a:gd name="T2" fmla="*/ 0 w 35"/>
                <a:gd name="T3" fmla="*/ 18 h 35"/>
                <a:gd name="T4" fmla="*/ 18 w 35"/>
                <a:gd name="T5" fmla="*/ 35 h 35"/>
                <a:gd name="T6" fmla="*/ 35 w 35"/>
                <a:gd name="T7" fmla="*/ 18 h 35"/>
                <a:gd name="T8" fmla="*/ 18 w 35"/>
                <a:gd name="T9" fmla="*/ 0 h 35"/>
                <a:gd name="T10" fmla="*/ 18 w 35"/>
                <a:gd name="T11" fmla="*/ 26 h 35"/>
                <a:gd name="T12" fmla="*/ 10 w 35"/>
                <a:gd name="T13" fmla="*/ 18 h 35"/>
                <a:gd name="T14" fmla="*/ 18 w 35"/>
                <a:gd name="T15" fmla="*/ 9 h 35"/>
                <a:gd name="T16" fmla="*/ 26 w 35"/>
                <a:gd name="T17" fmla="*/ 18 h 35"/>
                <a:gd name="T18" fmla="*/ 18 w 35"/>
                <a:gd name="T1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0"/>
                  </a:moveTo>
                  <a:cubicBezTo>
                    <a:pt x="8" y="0"/>
                    <a:pt x="0" y="8"/>
                    <a:pt x="0" y="18"/>
                  </a:cubicBezTo>
                  <a:cubicBezTo>
                    <a:pt x="0" y="27"/>
                    <a:pt x="8" y="35"/>
                    <a:pt x="18" y="35"/>
                  </a:cubicBezTo>
                  <a:cubicBezTo>
                    <a:pt x="28" y="35"/>
                    <a:pt x="35" y="27"/>
                    <a:pt x="35" y="18"/>
                  </a:cubicBezTo>
                  <a:cubicBezTo>
                    <a:pt x="35" y="8"/>
                    <a:pt x="28" y="0"/>
                    <a:pt x="18" y="0"/>
                  </a:cubicBezTo>
                  <a:close/>
                  <a:moveTo>
                    <a:pt x="18" y="26"/>
                  </a:moveTo>
                  <a:cubicBezTo>
                    <a:pt x="13" y="26"/>
                    <a:pt x="10" y="22"/>
                    <a:pt x="10" y="18"/>
                  </a:cubicBezTo>
                  <a:cubicBezTo>
                    <a:pt x="10" y="13"/>
                    <a:pt x="13" y="9"/>
                    <a:pt x="18" y="9"/>
                  </a:cubicBezTo>
                  <a:cubicBezTo>
                    <a:pt x="22" y="9"/>
                    <a:pt x="26" y="13"/>
                    <a:pt x="26" y="18"/>
                  </a:cubicBezTo>
                  <a:cubicBezTo>
                    <a:pt x="26" y="22"/>
                    <a:pt x="22" y="26"/>
                    <a:pt x="18"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47" name="Freeform 12">
              <a:extLst>
                <a:ext uri="{FF2B5EF4-FFF2-40B4-BE49-F238E27FC236}">
                  <a16:creationId xmlns:a16="http://schemas.microsoft.com/office/drawing/2014/main" xmlns="" id="{1BE5228B-4E18-4EE5-994D-4A1CB008138C}"/>
                </a:ext>
              </a:extLst>
            </p:cNvPr>
            <p:cNvSpPr>
              <a:spLocks noEditPoints="1"/>
            </p:cNvSpPr>
            <p:nvPr/>
          </p:nvSpPr>
          <p:spPr bwMode="auto">
            <a:xfrm>
              <a:off x="-2151" y="1383670"/>
              <a:ext cx="896938" cy="1174750"/>
            </a:xfrm>
            <a:custGeom>
              <a:avLst/>
              <a:gdLst>
                <a:gd name="T0" fmla="*/ 0 w 562"/>
                <a:gd name="T1" fmla="*/ 481 h 739"/>
                <a:gd name="T2" fmla="*/ 58 w 562"/>
                <a:gd name="T3" fmla="*/ 575 h 739"/>
                <a:gd name="T4" fmla="*/ 138 w 562"/>
                <a:gd name="T5" fmla="*/ 700 h 739"/>
                <a:gd name="T6" fmla="*/ 397 w 562"/>
                <a:gd name="T7" fmla="*/ 601 h 739"/>
                <a:gd name="T8" fmla="*/ 534 w 562"/>
                <a:gd name="T9" fmla="*/ 533 h 739"/>
                <a:gd name="T10" fmla="*/ 526 w 562"/>
                <a:gd name="T11" fmla="*/ 364 h 739"/>
                <a:gd name="T12" fmla="*/ 554 w 562"/>
                <a:gd name="T13" fmla="*/ 298 h 739"/>
                <a:gd name="T14" fmla="*/ 517 w 562"/>
                <a:gd name="T15" fmla="*/ 228 h 739"/>
                <a:gd name="T16" fmla="*/ 245 w 562"/>
                <a:gd name="T17" fmla="*/ 83 h 739"/>
                <a:gd name="T18" fmla="*/ 89 w 562"/>
                <a:gd name="T19" fmla="*/ 105 h 739"/>
                <a:gd name="T20" fmla="*/ 117 w 562"/>
                <a:gd name="T21" fmla="*/ 25 h 739"/>
                <a:gd name="T22" fmla="*/ 83 w 562"/>
                <a:gd name="T23" fmla="*/ 5 h 739"/>
                <a:gd name="T24" fmla="*/ 88 w 562"/>
                <a:gd name="T25" fmla="*/ 42 h 739"/>
                <a:gd name="T26" fmla="*/ 40 w 562"/>
                <a:gd name="T27" fmla="*/ 134 h 739"/>
                <a:gd name="T28" fmla="*/ 0 w 562"/>
                <a:gd name="T29" fmla="*/ 146 h 739"/>
                <a:gd name="T30" fmla="*/ 39 w 562"/>
                <a:gd name="T31" fmla="*/ 144 h 739"/>
                <a:gd name="T32" fmla="*/ 0 w 562"/>
                <a:gd name="T33" fmla="*/ 212 h 739"/>
                <a:gd name="T34" fmla="*/ 0 w 562"/>
                <a:gd name="T35" fmla="*/ 248 h 739"/>
                <a:gd name="T36" fmla="*/ 98 w 562"/>
                <a:gd name="T37" fmla="*/ 180 h 739"/>
                <a:gd name="T38" fmla="*/ 147 w 562"/>
                <a:gd name="T39" fmla="*/ 279 h 739"/>
                <a:gd name="T40" fmla="*/ 177 w 562"/>
                <a:gd name="T41" fmla="*/ 284 h 739"/>
                <a:gd name="T42" fmla="*/ 156 w 562"/>
                <a:gd name="T43" fmla="*/ 246 h 739"/>
                <a:gd name="T44" fmla="*/ 115 w 562"/>
                <a:gd name="T45" fmla="*/ 126 h 739"/>
                <a:gd name="T46" fmla="*/ 484 w 562"/>
                <a:gd name="T47" fmla="*/ 242 h 739"/>
                <a:gd name="T48" fmla="*/ 413 w 562"/>
                <a:gd name="T49" fmla="*/ 298 h 739"/>
                <a:gd name="T50" fmla="*/ 516 w 562"/>
                <a:gd name="T51" fmla="*/ 341 h 739"/>
                <a:gd name="T52" fmla="*/ 448 w 562"/>
                <a:gd name="T53" fmla="*/ 448 h 739"/>
                <a:gd name="T54" fmla="*/ 388 w 562"/>
                <a:gd name="T55" fmla="*/ 594 h 739"/>
                <a:gd name="T56" fmla="*/ 138 w 562"/>
                <a:gd name="T57" fmla="*/ 614 h 739"/>
                <a:gd name="T58" fmla="*/ 128 w 562"/>
                <a:gd name="T59" fmla="*/ 700 h 739"/>
                <a:gd name="T60" fmla="*/ 68 w 562"/>
                <a:gd name="T61" fmla="*/ 565 h 739"/>
                <a:gd name="T62" fmla="*/ 128 w 562"/>
                <a:gd name="T63" fmla="*/ 556 h 739"/>
                <a:gd name="T64" fmla="*/ 128 w 562"/>
                <a:gd name="T65" fmla="*/ 530 h 739"/>
                <a:gd name="T66" fmla="*/ 158 w 562"/>
                <a:gd name="T67" fmla="*/ 256 h 739"/>
                <a:gd name="T68" fmla="*/ 175 w 562"/>
                <a:gd name="T69" fmla="*/ 259 h 739"/>
                <a:gd name="T70" fmla="*/ 155 w 562"/>
                <a:gd name="T71" fmla="*/ 273 h 739"/>
                <a:gd name="T72" fmla="*/ 96 w 562"/>
                <a:gd name="T73" fmla="*/ 10 h 739"/>
                <a:gd name="T74" fmla="*/ 108 w 562"/>
                <a:gd name="T75" fmla="*/ 24 h 739"/>
                <a:gd name="T76" fmla="*/ 84 w 562"/>
                <a:gd name="T77" fmla="*/ 20 h 739"/>
                <a:gd name="T78" fmla="*/ 79 w 562"/>
                <a:gd name="T79" fmla="*/ 114 h 739"/>
                <a:gd name="T80" fmla="*/ 484 w 562"/>
                <a:gd name="T81" fmla="*/ 363 h 739"/>
                <a:gd name="T82" fmla="*/ 451 w 562"/>
                <a:gd name="T83" fmla="*/ 237 h 739"/>
                <a:gd name="T84" fmla="*/ 488 w 562"/>
                <a:gd name="T85" fmla="*/ 253 h 739"/>
                <a:gd name="T86" fmla="*/ 546 w 562"/>
                <a:gd name="T87" fmla="*/ 292 h 739"/>
                <a:gd name="T88" fmla="*/ 448 w 562"/>
                <a:gd name="T89" fmla="*/ 458 h 739"/>
                <a:gd name="T90" fmla="*/ 373 w 562"/>
                <a:gd name="T91" fmla="*/ 53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2" h="739">
                  <a:moveTo>
                    <a:pt x="58" y="520"/>
                  </a:moveTo>
                  <a:cubicBezTo>
                    <a:pt x="58" y="561"/>
                    <a:pt x="58" y="561"/>
                    <a:pt x="58" y="561"/>
                  </a:cubicBezTo>
                  <a:cubicBezTo>
                    <a:pt x="34" y="538"/>
                    <a:pt x="14" y="511"/>
                    <a:pt x="0" y="481"/>
                  </a:cubicBezTo>
                  <a:cubicBezTo>
                    <a:pt x="0" y="502"/>
                    <a:pt x="0" y="502"/>
                    <a:pt x="0" y="502"/>
                  </a:cubicBezTo>
                  <a:cubicBezTo>
                    <a:pt x="6" y="513"/>
                    <a:pt x="13" y="523"/>
                    <a:pt x="20" y="533"/>
                  </a:cubicBezTo>
                  <a:cubicBezTo>
                    <a:pt x="32" y="548"/>
                    <a:pt x="44" y="562"/>
                    <a:pt x="58" y="575"/>
                  </a:cubicBezTo>
                  <a:cubicBezTo>
                    <a:pt x="58" y="700"/>
                    <a:pt x="58" y="700"/>
                    <a:pt x="58" y="700"/>
                  </a:cubicBezTo>
                  <a:cubicBezTo>
                    <a:pt x="58" y="722"/>
                    <a:pt x="76" y="739"/>
                    <a:pt x="98" y="739"/>
                  </a:cubicBezTo>
                  <a:cubicBezTo>
                    <a:pt x="120" y="739"/>
                    <a:pt x="138" y="722"/>
                    <a:pt x="138" y="700"/>
                  </a:cubicBezTo>
                  <a:cubicBezTo>
                    <a:pt x="138" y="624"/>
                    <a:pt x="138" y="624"/>
                    <a:pt x="138" y="624"/>
                  </a:cubicBezTo>
                  <a:cubicBezTo>
                    <a:pt x="172" y="638"/>
                    <a:pt x="208" y="646"/>
                    <a:pt x="245" y="646"/>
                  </a:cubicBezTo>
                  <a:cubicBezTo>
                    <a:pt x="299" y="646"/>
                    <a:pt x="352" y="630"/>
                    <a:pt x="397" y="601"/>
                  </a:cubicBezTo>
                  <a:cubicBezTo>
                    <a:pt x="412" y="612"/>
                    <a:pt x="430" y="619"/>
                    <a:pt x="448" y="619"/>
                  </a:cubicBezTo>
                  <a:cubicBezTo>
                    <a:pt x="471" y="619"/>
                    <a:pt x="493" y="610"/>
                    <a:pt x="509" y="594"/>
                  </a:cubicBezTo>
                  <a:cubicBezTo>
                    <a:pt x="525" y="578"/>
                    <a:pt x="534" y="556"/>
                    <a:pt x="534" y="533"/>
                  </a:cubicBezTo>
                  <a:cubicBezTo>
                    <a:pt x="534" y="511"/>
                    <a:pt x="525" y="489"/>
                    <a:pt x="509" y="473"/>
                  </a:cubicBezTo>
                  <a:cubicBezTo>
                    <a:pt x="508" y="472"/>
                    <a:pt x="507" y="471"/>
                    <a:pt x="506" y="470"/>
                  </a:cubicBezTo>
                  <a:cubicBezTo>
                    <a:pt x="519" y="437"/>
                    <a:pt x="526" y="401"/>
                    <a:pt x="526" y="364"/>
                  </a:cubicBezTo>
                  <a:cubicBezTo>
                    <a:pt x="526" y="354"/>
                    <a:pt x="526" y="343"/>
                    <a:pt x="524" y="331"/>
                  </a:cubicBezTo>
                  <a:cubicBezTo>
                    <a:pt x="554" y="298"/>
                    <a:pt x="554" y="298"/>
                    <a:pt x="554" y="298"/>
                  </a:cubicBezTo>
                  <a:cubicBezTo>
                    <a:pt x="554" y="298"/>
                    <a:pt x="554" y="298"/>
                    <a:pt x="554" y="298"/>
                  </a:cubicBezTo>
                  <a:cubicBezTo>
                    <a:pt x="554" y="298"/>
                    <a:pt x="554" y="298"/>
                    <a:pt x="554" y="298"/>
                  </a:cubicBezTo>
                  <a:cubicBezTo>
                    <a:pt x="559" y="290"/>
                    <a:pt x="562" y="281"/>
                    <a:pt x="562" y="272"/>
                  </a:cubicBezTo>
                  <a:cubicBezTo>
                    <a:pt x="562" y="248"/>
                    <a:pt x="542" y="228"/>
                    <a:pt x="517" y="228"/>
                  </a:cubicBezTo>
                  <a:cubicBezTo>
                    <a:pt x="509" y="228"/>
                    <a:pt x="501" y="230"/>
                    <a:pt x="494" y="234"/>
                  </a:cubicBezTo>
                  <a:cubicBezTo>
                    <a:pt x="471" y="190"/>
                    <a:pt x="437" y="153"/>
                    <a:pt x="395" y="126"/>
                  </a:cubicBezTo>
                  <a:cubicBezTo>
                    <a:pt x="350" y="98"/>
                    <a:pt x="298" y="83"/>
                    <a:pt x="245" y="83"/>
                  </a:cubicBezTo>
                  <a:cubicBezTo>
                    <a:pt x="220" y="83"/>
                    <a:pt x="196" y="87"/>
                    <a:pt x="172" y="93"/>
                  </a:cubicBezTo>
                  <a:cubicBezTo>
                    <a:pt x="150" y="99"/>
                    <a:pt x="129" y="107"/>
                    <a:pt x="110" y="118"/>
                  </a:cubicBezTo>
                  <a:cubicBezTo>
                    <a:pt x="104" y="112"/>
                    <a:pt x="97" y="107"/>
                    <a:pt x="89" y="105"/>
                  </a:cubicBezTo>
                  <a:cubicBezTo>
                    <a:pt x="98" y="44"/>
                    <a:pt x="98" y="44"/>
                    <a:pt x="98" y="44"/>
                  </a:cubicBezTo>
                  <a:cubicBezTo>
                    <a:pt x="102" y="44"/>
                    <a:pt x="106" y="42"/>
                    <a:pt x="109" y="40"/>
                  </a:cubicBezTo>
                  <a:cubicBezTo>
                    <a:pt x="114" y="36"/>
                    <a:pt x="117" y="31"/>
                    <a:pt x="117" y="25"/>
                  </a:cubicBezTo>
                  <a:cubicBezTo>
                    <a:pt x="118" y="19"/>
                    <a:pt x="117" y="14"/>
                    <a:pt x="113" y="9"/>
                  </a:cubicBezTo>
                  <a:cubicBezTo>
                    <a:pt x="110" y="4"/>
                    <a:pt x="105" y="1"/>
                    <a:pt x="99" y="0"/>
                  </a:cubicBezTo>
                  <a:cubicBezTo>
                    <a:pt x="93" y="0"/>
                    <a:pt x="87" y="1"/>
                    <a:pt x="83" y="5"/>
                  </a:cubicBezTo>
                  <a:cubicBezTo>
                    <a:pt x="78" y="8"/>
                    <a:pt x="75" y="13"/>
                    <a:pt x="74" y="19"/>
                  </a:cubicBezTo>
                  <a:cubicBezTo>
                    <a:pt x="73" y="25"/>
                    <a:pt x="75" y="31"/>
                    <a:pt x="78" y="35"/>
                  </a:cubicBezTo>
                  <a:cubicBezTo>
                    <a:pt x="81" y="39"/>
                    <a:pt x="84" y="41"/>
                    <a:pt x="88" y="42"/>
                  </a:cubicBezTo>
                  <a:cubicBezTo>
                    <a:pt x="80" y="104"/>
                    <a:pt x="80" y="104"/>
                    <a:pt x="80" y="104"/>
                  </a:cubicBezTo>
                  <a:cubicBezTo>
                    <a:pt x="79" y="104"/>
                    <a:pt x="79" y="104"/>
                    <a:pt x="79" y="104"/>
                  </a:cubicBezTo>
                  <a:cubicBezTo>
                    <a:pt x="60" y="104"/>
                    <a:pt x="45" y="117"/>
                    <a:pt x="40" y="134"/>
                  </a:cubicBezTo>
                  <a:cubicBezTo>
                    <a:pt x="6" y="129"/>
                    <a:pt x="6" y="129"/>
                    <a:pt x="6" y="129"/>
                  </a:cubicBezTo>
                  <a:cubicBezTo>
                    <a:pt x="6" y="124"/>
                    <a:pt x="3" y="119"/>
                    <a:pt x="0" y="116"/>
                  </a:cubicBezTo>
                  <a:cubicBezTo>
                    <a:pt x="0" y="146"/>
                    <a:pt x="0" y="146"/>
                    <a:pt x="0" y="146"/>
                  </a:cubicBezTo>
                  <a:cubicBezTo>
                    <a:pt x="2" y="144"/>
                    <a:pt x="4" y="141"/>
                    <a:pt x="5" y="139"/>
                  </a:cubicBezTo>
                  <a:cubicBezTo>
                    <a:pt x="39" y="143"/>
                    <a:pt x="39" y="143"/>
                    <a:pt x="39" y="143"/>
                  </a:cubicBezTo>
                  <a:cubicBezTo>
                    <a:pt x="39" y="144"/>
                    <a:pt x="39" y="144"/>
                    <a:pt x="39" y="144"/>
                  </a:cubicBezTo>
                  <a:cubicBezTo>
                    <a:pt x="39" y="152"/>
                    <a:pt x="41" y="159"/>
                    <a:pt x="45" y="165"/>
                  </a:cubicBezTo>
                  <a:cubicBezTo>
                    <a:pt x="0" y="200"/>
                    <a:pt x="0" y="200"/>
                    <a:pt x="0" y="200"/>
                  </a:cubicBezTo>
                  <a:cubicBezTo>
                    <a:pt x="0" y="212"/>
                    <a:pt x="0" y="212"/>
                    <a:pt x="0" y="212"/>
                  </a:cubicBezTo>
                  <a:cubicBezTo>
                    <a:pt x="20" y="196"/>
                    <a:pt x="20" y="196"/>
                    <a:pt x="20" y="196"/>
                  </a:cubicBezTo>
                  <a:cubicBezTo>
                    <a:pt x="12" y="206"/>
                    <a:pt x="6" y="216"/>
                    <a:pt x="0" y="227"/>
                  </a:cubicBezTo>
                  <a:cubicBezTo>
                    <a:pt x="0" y="248"/>
                    <a:pt x="0" y="248"/>
                    <a:pt x="0" y="248"/>
                  </a:cubicBezTo>
                  <a:cubicBezTo>
                    <a:pt x="13" y="221"/>
                    <a:pt x="30" y="196"/>
                    <a:pt x="52" y="174"/>
                  </a:cubicBezTo>
                  <a:cubicBezTo>
                    <a:pt x="59" y="180"/>
                    <a:pt x="69" y="184"/>
                    <a:pt x="79" y="184"/>
                  </a:cubicBezTo>
                  <a:cubicBezTo>
                    <a:pt x="86" y="184"/>
                    <a:pt x="92" y="183"/>
                    <a:pt x="98" y="180"/>
                  </a:cubicBezTo>
                  <a:cubicBezTo>
                    <a:pt x="149" y="252"/>
                    <a:pt x="149" y="252"/>
                    <a:pt x="149" y="252"/>
                  </a:cubicBezTo>
                  <a:cubicBezTo>
                    <a:pt x="146" y="255"/>
                    <a:pt x="144" y="258"/>
                    <a:pt x="143" y="263"/>
                  </a:cubicBezTo>
                  <a:cubicBezTo>
                    <a:pt x="142" y="268"/>
                    <a:pt x="143" y="274"/>
                    <a:pt x="147" y="279"/>
                  </a:cubicBezTo>
                  <a:cubicBezTo>
                    <a:pt x="150" y="284"/>
                    <a:pt x="155" y="287"/>
                    <a:pt x="161" y="288"/>
                  </a:cubicBezTo>
                  <a:cubicBezTo>
                    <a:pt x="162" y="288"/>
                    <a:pt x="163" y="288"/>
                    <a:pt x="165" y="288"/>
                  </a:cubicBezTo>
                  <a:cubicBezTo>
                    <a:pt x="169" y="288"/>
                    <a:pt x="174" y="287"/>
                    <a:pt x="177" y="284"/>
                  </a:cubicBezTo>
                  <a:cubicBezTo>
                    <a:pt x="187" y="277"/>
                    <a:pt x="189" y="264"/>
                    <a:pt x="183" y="254"/>
                  </a:cubicBezTo>
                  <a:cubicBezTo>
                    <a:pt x="179" y="249"/>
                    <a:pt x="174" y="246"/>
                    <a:pt x="168" y="245"/>
                  </a:cubicBezTo>
                  <a:cubicBezTo>
                    <a:pt x="164" y="244"/>
                    <a:pt x="160" y="245"/>
                    <a:pt x="156" y="246"/>
                  </a:cubicBezTo>
                  <a:cubicBezTo>
                    <a:pt x="106" y="174"/>
                    <a:pt x="106" y="174"/>
                    <a:pt x="106" y="174"/>
                  </a:cubicBezTo>
                  <a:cubicBezTo>
                    <a:pt x="114" y="167"/>
                    <a:pt x="119" y="156"/>
                    <a:pt x="119" y="144"/>
                  </a:cubicBezTo>
                  <a:cubicBezTo>
                    <a:pt x="119" y="138"/>
                    <a:pt x="118" y="132"/>
                    <a:pt x="115" y="126"/>
                  </a:cubicBezTo>
                  <a:cubicBezTo>
                    <a:pt x="155" y="104"/>
                    <a:pt x="200" y="93"/>
                    <a:pt x="245" y="93"/>
                  </a:cubicBezTo>
                  <a:cubicBezTo>
                    <a:pt x="347" y="93"/>
                    <a:pt x="439" y="149"/>
                    <a:pt x="486" y="240"/>
                  </a:cubicBezTo>
                  <a:cubicBezTo>
                    <a:pt x="485" y="240"/>
                    <a:pt x="485" y="241"/>
                    <a:pt x="484" y="242"/>
                  </a:cubicBezTo>
                  <a:cubicBezTo>
                    <a:pt x="475" y="233"/>
                    <a:pt x="463" y="228"/>
                    <a:pt x="451" y="228"/>
                  </a:cubicBezTo>
                  <a:cubicBezTo>
                    <a:pt x="426" y="228"/>
                    <a:pt x="406" y="248"/>
                    <a:pt x="406" y="272"/>
                  </a:cubicBezTo>
                  <a:cubicBezTo>
                    <a:pt x="406" y="281"/>
                    <a:pt x="408" y="290"/>
                    <a:pt x="413" y="298"/>
                  </a:cubicBezTo>
                  <a:cubicBezTo>
                    <a:pt x="414" y="298"/>
                    <a:pt x="414" y="298"/>
                    <a:pt x="414" y="298"/>
                  </a:cubicBezTo>
                  <a:cubicBezTo>
                    <a:pt x="484" y="377"/>
                    <a:pt x="484" y="377"/>
                    <a:pt x="484" y="377"/>
                  </a:cubicBezTo>
                  <a:cubicBezTo>
                    <a:pt x="516" y="341"/>
                    <a:pt x="516" y="341"/>
                    <a:pt x="516" y="341"/>
                  </a:cubicBezTo>
                  <a:cubicBezTo>
                    <a:pt x="516" y="349"/>
                    <a:pt x="517" y="357"/>
                    <a:pt x="517" y="364"/>
                  </a:cubicBezTo>
                  <a:cubicBezTo>
                    <a:pt x="517" y="399"/>
                    <a:pt x="510" y="432"/>
                    <a:pt x="498" y="464"/>
                  </a:cubicBezTo>
                  <a:cubicBezTo>
                    <a:pt x="484" y="454"/>
                    <a:pt x="466" y="448"/>
                    <a:pt x="448" y="448"/>
                  </a:cubicBezTo>
                  <a:cubicBezTo>
                    <a:pt x="426" y="448"/>
                    <a:pt x="404" y="457"/>
                    <a:pt x="388" y="473"/>
                  </a:cubicBezTo>
                  <a:cubicBezTo>
                    <a:pt x="372" y="489"/>
                    <a:pt x="363" y="511"/>
                    <a:pt x="363" y="533"/>
                  </a:cubicBezTo>
                  <a:cubicBezTo>
                    <a:pt x="363" y="556"/>
                    <a:pt x="372" y="578"/>
                    <a:pt x="388" y="594"/>
                  </a:cubicBezTo>
                  <a:cubicBezTo>
                    <a:pt x="389" y="595"/>
                    <a:pt x="389" y="595"/>
                    <a:pt x="389" y="595"/>
                  </a:cubicBezTo>
                  <a:cubicBezTo>
                    <a:pt x="346" y="622"/>
                    <a:pt x="296" y="636"/>
                    <a:pt x="245" y="636"/>
                  </a:cubicBezTo>
                  <a:cubicBezTo>
                    <a:pt x="208" y="636"/>
                    <a:pt x="172" y="629"/>
                    <a:pt x="138" y="614"/>
                  </a:cubicBezTo>
                  <a:cubicBezTo>
                    <a:pt x="138" y="520"/>
                    <a:pt x="138" y="520"/>
                    <a:pt x="138" y="520"/>
                  </a:cubicBezTo>
                  <a:lnTo>
                    <a:pt x="58" y="520"/>
                  </a:lnTo>
                  <a:close/>
                  <a:moveTo>
                    <a:pt x="128" y="700"/>
                  </a:moveTo>
                  <a:cubicBezTo>
                    <a:pt x="128" y="716"/>
                    <a:pt x="115" y="730"/>
                    <a:pt x="98" y="730"/>
                  </a:cubicBezTo>
                  <a:cubicBezTo>
                    <a:pt x="81" y="730"/>
                    <a:pt x="68" y="716"/>
                    <a:pt x="68" y="700"/>
                  </a:cubicBezTo>
                  <a:cubicBezTo>
                    <a:pt x="68" y="565"/>
                    <a:pt x="68" y="565"/>
                    <a:pt x="68" y="565"/>
                  </a:cubicBezTo>
                  <a:cubicBezTo>
                    <a:pt x="128" y="565"/>
                    <a:pt x="128" y="565"/>
                    <a:pt x="128" y="565"/>
                  </a:cubicBezTo>
                  <a:lnTo>
                    <a:pt x="128" y="700"/>
                  </a:lnTo>
                  <a:close/>
                  <a:moveTo>
                    <a:pt x="128" y="556"/>
                  </a:moveTo>
                  <a:cubicBezTo>
                    <a:pt x="68" y="556"/>
                    <a:pt x="68" y="556"/>
                    <a:pt x="68" y="556"/>
                  </a:cubicBezTo>
                  <a:cubicBezTo>
                    <a:pt x="68" y="530"/>
                    <a:pt x="68" y="530"/>
                    <a:pt x="68" y="530"/>
                  </a:cubicBezTo>
                  <a:cubicBezTo>
                    <a:pt x="128" y="530"/>
                    <a:pt x="128" y="530"/>
                    <a:pt x="128" y="530"/>
                  </a:cubicBezTo>
                  <a:lnTo>
                    <a:pt x="128" y="556"/>
                  </a:lnTo>
                  <a:close/>
                  <a:moveTo>
                    <a:pt x="153" y="264"/>
                  </a:moveTo>
                  <a:cubicBezTo>
                    <a:pt x="153" y="261"/>
                    <a:pt x="155" y="258"/>
                    <a:pt x="158" y="256"/>
                  </a:cubicBezTo>
                  <a:cubicBezTo>
                    <a:pt x="160" y="255"/>
                    <a:pt x="162" y="254"/>
                    <a:pt x="165" y="254"/>
                  </a:cubicBezTo>
                  <a:cubicBezTo>
                    <a:pt x="165" y="254"/>
                    <a:pt x="166" y="254"/>
                    <a:pt x="167" y="254"/>
                  </a:cubicBezTo>
                  <a:cubicBezTo>
                    <a:pt x="170" y="255"/>
                    <a:pt x="173" y="257"/>
                    <a:pt x="175" y="259"/>
                  </a:cubicBezTo>
                  <a:cubicBezTo>
                    <a:pt x="179" y="265"/>
                    <a:pt x="177" y="272"/>
                    <a:pt x="172" y="276"/>
                  </a:cubicBezTo>
                  <a:cubicBezTo>
                    <a:pt x="169" y="278"/>
                    <a:pt x="166" y="279"/>
                    <a:pt x="163" y="278"/>
                  </a:cubicBezTo>
                  <a:cubicBezTo>
                    <a:pt x="159" y="278"/>
                    <a:pt x="157" y="276"/>
                    <a:pt x="155" y="273"/>
                  </a:cubicBezTo>
                  <a:cubicBezTo>
                    <a:pt x="153" y="271"/>
                    <a:pt x="152" y="267"/>
                    <a:pt x="153" y="264"/>
                  </a:cubicBezTo>
                  <a:close/>
                  <a:moveTo>
                    <a:pt x="84" y="20"/>
                  </a:moveTo>
                  <a:cubicBezTo>
                    <a:pt x="85" y="14"/>
                    <a:pt x="90" y="10"/>
                    <a:pt x="96" y="10"/>
                  </a:cubicBezTo>
                  <a:cubicBezTo>
                    <a:pt x="96" y="10"/>
                    <a:pt x="97" y="10"/>
                    <a:pt x="98" y="10"/>
                  </a:cubicBezTo>
                  <a:cubicBezTo>
                    <a:pt x="101" y="10"/>
                    <a:pt x="104" y="12"/>
                    <a:pt x="106" y="15"/>
                  </a:cubicBezTo>
                  <a:cubicBezTo>
                    <a:pt x="108" y="17"/>
                    <a:pt x="108" y="21"/>
                    <a:pt x="108" y="24"/>
                  </a:cubicBezTo>
                  <a:cubicBezTo>
                    <a:pt x="107" y="27"/>
                    <a:pt x="106" y="30"/>
                    <a:pt x="103" y="32"/>
                  </a:cubicBezTo>
                  <a:cubicBezTo>
                    <a:pt x="101" y="34"/>
                    <a:pt x="97" y="35"/>
                    <a:pt x="94" y="34"/>
                  </a:cubicBezTo>
                  <a:cubicBezTo>
                    <a:pt x="88" y="33"/>
                    <a:pt x="83" y="27"/>
                    <a:pt x="84" y="20"/>
                  </a:cubicBezTo>
                  <a:close/>
                  <a:moveTo>
                    <a:pt x="79" y="175"/>
                  </a:moveTo>
                  <a:cubicBezTo>
                    <a:pt x="62" y="175"/>
                    <a:pt x="48" y="161"/>
                    <a:pt x="48" y="144"/>
                  </a:cubicBezTo>
                  <a:cubicBezTo>
                    <a:pt x="48" y="127"/>
                    <a:pt x="62" y="114"/>
                    <a:pt x="79" y="114"/>
                  </a:cubicBezTo>
                  <a:cubicBezTo>
                    <a:pt x="96" y="114"/>
                    <a:pt x="109" y="127"/>
                    <a:pt x="109" y="144"/>
                  </a:cubicBezTo>
                  <a:cubicBezTo>
                    <a:pt x="109" y="161"/>
                    <a:pt x="96" y="175"/>
                    <a:pt x="79" y="175"/>
                  </a:cubicBezTo>
                  <a:close/>
                  <a:moveTo>
                    <a:pt x="484" y="363"/>
                  </a:moveTo>
                  <a:cubicBezTo>
                    <a:pt x="421" y="292"/>
                    <a:pt x="421" y="292"/>
                    <a:pt x="421" y="292"/>
                  </a:cubicBezTo>
                  <a:cubicBezTo>
                    <a:pt x="417" y="286"/>
                    <a:pt x="415" y="279"/>
                    <a:pt x="415" y="272"/>
                  </a:cubicBezTo>
                  <a:cubicBezTo>
                    <a:pt x="415" y="253"/>
                    <a:pt x="431" y="237"/>
                    <a:pt x="451" y="237"/>
                  </a:cubicBezTo>
                  <a:cubicBezTo>
                    <a:pt x="462" y="237"/>
                    <a:pt x="473" y="243"/>
                    <a:pt x="480" y="253"/>
                  </a:cubicBezTo>
                  <a:cubicBezTo>
                    <a:pt x="484" y="259"/>
                    <a:pt x="484" y="259"/>
                    <a:pt x="484" y="259"/>
                  </a:cubicBezTo>
                  <a:cubicBezTo>
                    <a:pt x="488" y="253"/>
                    <a:pt x="488" y="253"/>
                    <a:pt x="488" y="253"/>
                  </a:cubicBezTo>
                  <a:cubicBezTo>
                    <a:pt x="494" y="243"/>
                    <a:pt x="505" y="237"/>
                    <a:pt x="517" y="237"/>
                  </a:cubicBezTo>
                  <a:cubicBezTo>
                    <a:pt x="536" y="237"/>
                    <a:pt x="552" y="253"/>
                    <a:pt x="552" y="272"/>
                  </a:cubicBezTo>
                  <a:cubicBezTo>
                    <a:pt x="552" y="279"/>
                    <a:pt x="550" y="286"/>
                    <a:pt x="546" y="292"/>
                  </a:cubicBezTo>
                  <a:lnTo>
                    <a:pt x="484" y="363"/>
                  </a:lnTo>
                  <a:close/>
                  <a:moveTo>
                    <a:pt x="373" y="533"/>
                  </a:moveTo>
                  <a:cubicBezTo>
                    <a:pt x="373" y="492"/>
                    <a:pt x="407" y="458"/>
                    <a:pt x="448" y="458"/>
                  </a:cubicBezTo>
                  <a:cubicBezTo>
                    <a:pt x="490" y="458"/>
                    <a:pt x="524" y="492"/>
                    <a:pt x="524" y="533"/>
                  </a:cubicBezTo>
                  <a:cubicBezTo>
                    <a:pt x="524" y="575"/>
                    <a:pt x="490" y="609"/>
                    <a:pt x="448" y="609"/>
                  </a:cubicBezTo>
                  <a:cubicBezTo>
                    <a:pt x="407" y="609"/>
                    <a:pt x="373" y="575"/>
                    <a:pt x="373" y="5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8" name="Subtitle 1"/>
          <p:cNvSpPr>
            <a:spLocks noGrp="1"/>
          </p:cNvSpPr>
          <p:nvPr>
            <p:ph type="subTitle" idx="13"/>
          </p:nvPr>
        </p:nvSpPr>
        <p:spPr>
          <a:xfrm>
            <a:off x="1814348" y="1001819"/>
            <a:ext cx="10798461" cy="252000"/>
          </a:xfrm>
        </p:spPr>
        <p:txBody>
          <a:bodyPr/>
          <a:lstStyle/>
          <a:p>
            <a:r>
              <a:rPr lang="de-DE" dirty="0">
                <a:solidFill>
                  <a:schemeClr val="bg1"/>
                </a:solidFill>
              </a:rPr>
              <a:t>….</a:t>
            </a:r>
            <a:endParaRPr lang="en-US" dirty="0">
              <a:solidFill>
                <a:schemeClr val="bg1"/>
              </a:solidFill>
            </a:endParaRPr>
          </a:p>
        </p:txBody>
      </p:sp>
      <p:pic>
        <p:nvPicPr>
          <p:cNvPr id="2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2392" y="1654625"/>
            <a:ext cx="5180093" cy="4767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7481" y="1654626"/>
            <a:ext cx="5418161" cy="4767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26"/>
          <p:cNvSpPr/>
          <p:nvPr/>
        </p:nvSpPr>
        <p:spPr bwMode="gray">
          <a:xfrm>
            <a:off x="6822393" y="3166624"/>
            <a:ext cx="1021059" cy="2617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Important Learning</a:t>
            </a:r>
          </a:p>
        </p:txBody>
      </p:sp>
      <p:sp>
        <p:nvSpPr>
          <p:cNvPr id="4" name="Rounded Rectangular Callout 3"/>
          <p:cNvSpPr/>
          <p:nvPr/>
        </p:nvSpPr>
        <p:spPr bwMode="gray">
          <a:xfrm>
            <a:off x="6988537" y="1253819"/>
            <a:ext cx="2281750" cy="1703137"/>
          </a:xfrm>
          <a:prstGeom prst="wedgeRoundRectCallo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Reflection: How often did you make conscious time for learning last week?</a:t>
            </a:r>
            <a:endParaRPr lang="en-US" dirty="0">
              <a:solidFill>
                <a:schemeClr val="tx1"/>
              </a:solidFill>
            </a:endParaRPr>
          </a:p>
        </p:txBody>
      </p:sp>
      <p:sp>
        <p:nvSpPr>
          <p:cNvPr id="5" name="TextBox 4"/>
          <p:cNvSpPr txBox="1"/>
          <p:nvPr/>
        </p:nvSpPr>
        <p:spPr bwMode="gray">
          <a:xfrm>
            <a:off x="1357148" y="3118251"/>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0" name="TextBox 29"/>
          <p:cNvSpPr txBox="1"/>
          <p:nvPr/>
        </p:nvSpPr>
        <p:spPr bwMode="gray">
          <a:xfrm>
            <a:off x="1337481" y="3520549"/>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1" name="TextBox 30"/>
          <p:cNvSpPr txBox="1"/>
          <p:nvPr/>
        </p:nvSpPr>
        <p:spPr bwMode="gray">
          <a:xfrm>
            <a:off x="2426651" y="3332524"/>
            <a:ext cx="1006042" cy="402298"/>
          </a:xfrm>
          <a:prstGeom prst="rect">
            <a:avLst/>
          </a:prstGeom>
          <a:solidFill>
            <a:schemeClr val="tx2"/>
          </a:solidFill>
        </p:spPr>
        <p:txBody>
          <a:bodyPr wrap="none" lIns="0" tIns="0" rIns="0" bIns="0" rtlCol="0">
            <a:noAutofit/>
          </a:bodyPr>
          <a:lstStyle/>
          <a:p>
            <a:r>
              <a:rPr lang="en-US" sz="1050" b="1" dirty="0"/>
              <a:t>Emails…. </a:t>
            </a:r>
          </a:p>
        </p:txBody>
      </p:sp>
      <p:sp>
        <p:nvSpPr>
          <p:cNvPr id="32" name="TextBox 31"/>
          <p:cNvSpPr txBox="1"/>
          <p:nvPr/>
        </p:nvSpPr>
        <p:spPr bwMode="gray">
          <a:xfrm>
            <a:off x="2439250" y="4522465"/>
            <a:ext cx="1006042" cy="411845"/>
          </a:xfrm>
          <a:prstGeom prst="rect">
            <a:avLst/>
          </a:prstGeom>
          <a:solidFill>
            <a:schemeClr val="tx2"/>
          </a:solidFill>
        </p:spPr>
        <p:txBody>
          <a:bodyPr wrap="none" lIns="0" tIns="0" rIns="0" bIns="0" rtlCol="0">
            <a:noAutofit/>
          </a:bodyPr>
          <a:lstStyle/>
          <a:p>
            <a:r>
              <a:rPr lang="en-US" sz="1050" b="1" dirty="0"/>
              <a:t>Emails…. </a:t>
            </a:r>
          </a:p>
        </p:txBody>
      </p:sp>
      <p:sp>
        <p:nvSpPr>
          <p:cNvPr id="34" name="TextBox 33"/>
          <p:cNvSpPr txBox="1"/>
          <p:nvPr/>
        </p:nvSpPr>
        <p:spPr bwMode="gray">
          <a:xfrm>
            <a:off x="3514442" y="5050488"/>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5" name="TextBox 34"/>
          <p:cNvSpPr txBox="1"/>
          <p:nvPr/>
        </p:nvSpPr>
        <p:spPr bwMode="gray">
          <a:xfrm>
            <a:off x="3514442" y="3899957"/>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6" name="TextBox 35"/>
          <p:cNvSpPr txBox="1"/>
          <p:nvPr/>
        </p:nvSpPr>
        <p:spPr bwMode="gray">
          <a:xfrm>
            <a:off x="4613509" y="2521947"/>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7" name="TextBox 36"/>
          <p:cNvSpPr txBox="1"/>
          <p:nvPr/>
        </p:nvSpPr>
        <p:spPr bwMode="gray">
          <a:xfrm>
            <a:off x="4613509" y="3894762"/>
            <a:ext cx="1006042" cy="392230"/>
          </a:xfrm>
          <a:prstGeom prst="rect">
            <a:avLst/>
          </a:prstGeom>
          <a:solidFill>
            <a:schemeClr val="tx2"/>
          </a:solidFill>
        </p:spPr>
        <p:txBody>
          <a:bodyPr wrap="none" lIns="0" tIns="0" rIns="0" bIns="0" rtlCol="0">
            <a:noAutofit/>
          </a:bodyPr>
          <a:lstStyle/>
          <a:p>
            <a:r>
              <a:rPr lang="en-US" sz="1050" b="1" dirty="0"/>
              <a:t>Emails…. </a:t>
            </a:r>
          </a:p>
        </p:txBody>
      </p:sp>
      <p:sp>
        <p:nvSpPr>
          <p:cNvPr id="38" name="TextBox 37"/>
          <p:cNvSpPr txBox="1"/>
          <p:nvPr/>
        </p:nvSpPr>
        <p:spPr bwMode="gray">
          <a:xfrm>
            <a:off x="7894459" y="3242120"/>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39" name="TextBox 38"/>
          <p:cNvSpPr txBox="1"/>
          <p:nvPr/>
        </p:nvSpPr>
        <p:spPr bwMode="gray">
          <a:xfrm>
            <a:off x="7879077" y="4179855"/>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0" name="TextBox 39"/>
          <p:cNvSpPr txBox="1"/>
          <p:nvPr/>
        </p:nvSpPr>
        <p:spPr bwMode="gray">
          <a:xfrm>
            <a:off x="7882584" y="4720037"/>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1" name="TextBox 40"/>
          <p:cNvSpPr txBox="1"/>
          <p:nvPr/>
        </p:nvSpPr>
        <p:spPr bwMode="gray">
          <a:xfrm>
            <a:off x="10981426" y="4898685"/>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2" name="TextBox 41"/>
          <p:cNvSpPr txBox="1"/>
          <p:nvPr/>
        </p:nvSpPr>
        <p:spPr bwMode="gray">
          <a:xfrm>
            <a:off x="10991319" y="5269091"/>
            <a:ext cx="1006042" cy="775449"/>
          </a:xfrm>
          <a:prstGeom prst="rect">
            <a:avLst/>
          </a:prstGeom>
          <a:solidFill>
            <a:schemeClr val="tx2"/>
          </a:solidFill>
        </p:spPr>
        <p:txBody>
          <a:bodyPr wrap="none" lIns="0" tIns="0" rIns="0" bIns="0" rtlCol="0">
            <a:noAutofit/>
          </a:bodyPr>
          <a:lstStyle/>
          <a:p>
            <a:r>
              <a:rPr lang="en-US" sz="1050" b="1" dirty="0"/>
              <a:t>Emails…. </a:t>
            </a:r>
          </a:p>
        </p:txBody>
      </p:sp>
      <p:sp>
        <p:nvSpPr>
          <p:cNvPr id="26" name="Rectangle 25"/>
          <p:cNvSpPr/>
          <p:nvPr/>
        </p:nvSpPr>
        <p:spPr bwMode="gray">
          <a:xfrm>
            <a:off x="10981426" y="4558352"/>
            <a:ext cx="1021059" cy="3759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Important Learning</a:t>
            </a:r>
          </a:p>
        </p:txBody>
      </p:sp>
      <p:sp>
        <p:nvSpPr>
          <p:cNvPr id="43" name="TextBox 42"/>
          <p:cNvSpPr txBox="1"/>
          <p:nvPr/>
        </p:nvSpPr>
        <p:spPr bwMode="gray">
          <a:xfrm>
            <a:off x="9951634" y="6044540"/>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7" name="TextBox 46"/>
          <p:cNvSpPr txBox="1"/>
          <p:nvPr/>
        </p:nvSpPr>
        <p:spPr bwMode="gray">
          <a:xfrm>
            <a:off x="10991319" y="3026282"/>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8" name="TextBox 47"/>
          <p:cNvSpPr txBox="1"/>
          <p:nvPr/>
        </p:nvSpPr>
        <p:spPr bwMode="gray">
          <a:xfrm>
            <a:off x="10988934" y="3965582"/>
            <a:ext cx="1006042" cy="214273"/>
          </a:xfrm>
          <a:prstGeom prst="rect">
            <a:avLst/>
          </a:prstGeom>
          <a:solidFill>
            <a:schemeClr val="tx2"/>
          </a:solidFill>
        </p:spPr>
        <p:txBody>
          <a:bodyPr wrap="none" lIns="0" tIns="0" rIns="0" bIns="0" rtlCol="0">
            <a:noAutofit/>
          </a:bodyPr>
          <a:lstStyle/>
          <a:p>
            <a:r>
              <a:rPr lang="en-US" sz="1050" b="1" dirty="0"/>
              <a:t>Emails…. </a:t>
            </a:r>
          </a:p>
        </p:txBody>
      </p:sp>
      <p:sp>
        <p:nvSpPr>
          <p:cNvPr id="44" name="Rectangle 43"/>
          <p:cNvSpPr/>
          <p:nvPr/>
        </p:nvSpPr>
        <p:spPr bwMode="gray">
          <a:xfrm>
            <a:off x="1352075" y="5169768"/>
            <a:ext cx="10635393" cy="4913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FFFFFF"/>
                </a:solidFill>
                <a:latin typeface="Arial" panose="020B0604020202020204" pitchFamily="34" charset="0"/>
              </a:rPr>
              <a:t>Lifelong Learning is not a #Buzzword any</a:t>
            </a:r>
            <a:r>
              <a:rPr lang="en-US" sz="2000" b="1" i="0" u="none" dirty="0">
                <a:solidFill>
                  <a:srgbClr val="FFFFFF"/>
                </a:solidFill>
                <a:latin typeface="Arial" panose="020B0604020202020204" pitchFamily="34" charset="0"/>
              </a:rPr>
              <a:t> longer! </a:t>
            </a:r>
            <a:r>
              <a:rPr lang="en-US" sz="2000" b="1" i="0" u="none" dirty="0" smtClean="0">
                <a:solidFill>
                  <a:srgbClr val="FFFFFF"/>
                </a:solidFill>
                <a:latin typeface="Arial" panose="020B0604020202020204" pitchFamily="34" charset="0"/>
              </a:rPr>
              <a:t>Better starts with YOU</a:t>
            </a:r>
            <a:r>
              <a:rPr lang="en-US" sz="2000" b="1" i="0" u="none" dirty="0">
                <a:solidFill>
                  <a:srgbClr val="FFFFFF"/>
                </a:solidFill>
                <a:latin typeface="Arial" panose="020B0604020202020204" pitchFamily="34" charset="0"/>
              </a:rPr>
              <a:t>! </a:t>
            </a:r>
            <a:endParaRPr lang="en-US" sz="2000" b="1" i="0" u="none" baseline="0" dirty="0">
              <a:solidFill>
                <a:srgbClr val="FFFFFF"/>
              </a:solidFill>
              <a:latin typeface="Arial" panose="020B0604020202020204" pitchFamily="34" charset="0"/>
            </a:endParaRPr>
          </a:p>
        </p:txBody>
      </p:sp>
      <p:sp>
        <p:nvSpPr>
          <p:cNvPr id="45" name="Rectangle 44"/>
          <p:cNvSpPr/>
          <p:nvPr/>
        </p:nvSpPr>
        <p:spPr bwMode="gray">
          <a:xfrm>
            <a:off x="1352075" y="5883299"/>
            <a:ext cx="10635393" cy="4913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FFFFFF"/>
                </a:solidFill>
                <a:latin typeface="Arial" panose="020B0604020202020204" pitchFamily="34" charset="0"/>
              </a:rPr>
              <a:t>Don´t mix up “Available any time” with “When I have time…”</a:t>
            </a:r>
          </a:p>
        </p:txBody>
      </p:sp>
    </p:spTree>
    <p:extLst>
      <p:ext uri="{BB962C8B-B14F-4D97-AF65-F5344CB8AC3E}">
        <p14:creationId xmlns:p14="http://schemas.microsoft.com/office/powerpoint/2010/main" val="214924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wipe(down)">
                                      <p:cBhvr>
                                        <p:cTn id="13" dur="500"/>
                                        <p:tgtEl>
                                          <p:spTgt spid="31"/>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wipe(down)">
                                      <p:cBhvr>
                                        <p:cTn id="16" dur="500"/>
                                        <p:tgtEl>
                                          <p:spTgt spid="32"/>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wipe(down)">
                                      <p:cBhvr>
                                        <p:cTn id="19" dur="500"/>
                                        <p:tgtEl>
                                          <p:spTgt spid="3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wipe(down)">
                                      <p:cBhvr>
                                        <p:cTn id="22" dur="500"/>
                                        <p:tgtEl>
                                          <p:spTgt spid="37"/>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wipe(down)">
                                      <p:cBhvr>
                                        <p:cTn id="25" dur="500"/>
                                        <p:tgtEl>
                                          <p:spTgt spid="34"/>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wipe(down)">
                                      <p:cBhvr>
                                        <p:cTn id="28" dur="500"/>
                                        <p:tgtEl>
                                          <p:spTgt spid="36"/>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1000"/>
                                        <p:tgtEl>
                                          <p:spTgt spid="20"/>
                                        </p:tgtEl>
                                      </p:cBhvr>
                                    </p:animEffect>
                                    <p:anim calcmode="lin" valueType="num">
                                      <p:cBhvr>
                                        <p:cTn id="34" dur="1000" fill="hold"/>
                                        <p:tgtEl>
                                          <p:spTgt spid="20"/>
                                        </p:tgtEl>
                                        <p:attrNameLst>
                                          <p:attrName>ppt_x</p:attrName>
                                        </p:attrNameLst>
                                      </p:cBhvr>
                                      <p:tavLst>
                                        <p:tav tm="0">
                                          <p:val>
                                            <p:strVal val="#ppt_x"/>
                                          </p:val>
                                        </p:tav>
                                        <p:tav tm="100000">
                                          <p:val>
                                            <p:strVal val="#ppt_x"/>
                                          </p:val>
                                        </p:tav>
                                      </p:tavLst>
                                    </p:anim>
                                    <p:anim calcmode="lin" valueType="num">
                                      <p:cBhvr>
                                        <p:cTn id="35" dur="1000" fill="hold"/>
                                        <p:tgtEl>
                                          <p:spTgt spid="20"/>
                                        </p:tgtEl>
                                        <p:attrNameLst>
                                          <p:attrName>ppt_y</p:attrName>
                                        </p:attrNameLst>
                                      </p:cBhvr>
                                      <p:tavLst>
                                        <p:tav tm="0">
                                          <p:val>
                                            <p:strVal val="#ppt_y+.1"/>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additive="base">
                                        <p:cTn id="38" dur="500" fill="hold"/>
                                        <p:tgtEl>
                                          <p:spTgt spid="27"/>
                                        </p:tgtEl>
                                        <p:attrNameLst>
                                          <p:attrName>ppt_x</p:attrName>
                                        </p:attrNameLst>
                                      </p:cBhvr>
                                      <p:tavLst>
                                        <p:tav tm="0">
                                          <p:val>
                                            <p:strVal val="#ppt_x"/>
                                          </p:val>
                                        </p:tav>
                                        <p:tav tm="100000">
                                          <p:val>
                                            <p:strVal val="#ppt_x"/>
                                          </p:val>
                                        </p:tav>
                                      </p:tavLst>
                                    </p:anim>
                                    <p:anim calcmode="lin" valueType="num">
                                      <p:cBhvr additive="base">
                                        <p:cTn id="39" dur="500" fill="hold"/>
                                        <p:tgtEl>
                                          <p:spTgt spid="27"/>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0"/>
                                  </p:stCondLst>
                                  <p:childTnLst>
                                    <p:set>
                                      <p:cBhvr>
                                        <p:cTn id="41" dur="1" fill="hold">
                                          <p:stCondLst>
                                            <p:cond delay="0"/>
                                          </p:stCondLst>
                                        </p:cTn>
                                        <p:tgtEl>
                                          <p:spTgt spid="4"/>
                                        </p:tgtEl>
                                        <p:attrNameLst>
                                          <p:attrName>style.visibility</p:attrName>
                                        </p:attrNameLst>
                                      </p:cBhvr>
                                      <p:to>
                                        <p:strVal val="visible"/>
                                      </p:to>
                                    </p:set>
                                    <p:anim calcmode="lin" valueType="num">
                                      <p:cBhvr additive="base">
                                        <p:cTn id="42" dur="500" fill="hold"/>
                                        <p:tgtEl>
                                          <p:spTgt spid="4"/>
                                        </p:tgtEl>
                                        <p:attrNameLst>
                                          <p:attrName>ppt_x</p:attrName>
                                        </p:attrNameLst>
                                      </p:cBhvr>
                                      <p:tavLst>
                                        <p:tav tm="0">
                                          <p:val>
                                            <p:strVal val="#ppt_x"/>
                                          </p:val>
                                        </p:tav>
                                        <p:tav tm="100000">
                                          <p:val>
                                            <p:strVal val="#ppt_x"/>
                                          </p:val>
                                        </p:tav>
                                      </p:tavLst>
                                    </p:anim>
                                    <p:anim calcmode="lin" valueType="num">
                                      <p:cBhvr additive="base">
                                        <p:cTn id="43" dur="500" fill="hold"/>
                                        <p:tgtEl>
                                          <p:spTgt spid="4"/>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additive="base">
                                        <p:cTn id="46" dur="500" fill="hold"/>
                                        <p:tgtEl>
                                          <p:spTgt spid="26"/>
                                        </p:tgtEl>
                                        <p:attrNameLst>
                                          <p:attrName>ppt_x</p:attrName>
                                        </p:attrNameLst>
                                      </p:cBhvr>
                                      <p:tavLst>
                                        <p:tav tm="0">
                                          <p:val>
                                            <p:strVal val="#ppt_x"/>
                                          </p:val>
                                        </p:tav>
                                        <p:tav tm="100000">
                                          <p:val>
                                            <p:strVal val="#ppt_x"/>
                                          </p:val>
                                        </p:tav>
                                      </p:tavLst>
                                    </p:anim>
                                    <p:anim calcmode="lin" valueType="num">
                                      <p:cBhvr additive="base">
                                        <p:cTn id="47"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wipe(down)">
                                      <p:cBhvr>
                                        <p:cTn id="52" dur="500"/>
                                        <p:tgtEl>
                                          <p:spTgt spid="38"/>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9"/>
                                        </p:tgtEl>
                                        <p:attrNameLst>
                                          <p:attrName>style.visibility</p:attrName>
                                        </p:attrNameLst>
                                      </p:cBhvr>
                                      <p:to>
                                        <p:strVal val="visible"/>
                                      </p:to>
                                    </p:set>
                                    <p:animEffect transition="in" filter="wipe(down)">
                                      <p:cBhvr>
                                        <p:cTn id="55" dur="500"/>
                                        <p:tgtEl>
                                          <p:spTgt spid="39"/>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40"/>
                                        </p:tgtEl>
                                        <p:attrNameLst>
                                          <p:attrName>style.visibility</p:attrName>
                                        </p:attrNameLst>
                                      </p:cBhvr>
                                      <p:to>
                                        <p:strVal val="visible"/>
                                      </p:to>
                                    </p:set>
                                    <p:animEffect transition="in" filter="wipe(down)">
                                      <p:cBhvr>
                                        <p:cTn id="58" dur="500"/>
                                        <p:tgtEl>
                                          <p:spTgt spid="40"/>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animEffect transition="in" filter="wipe(down)">
                                      <p:cBhvr>
                                        <p:cTn id="61" dur="500"/>
                                        <p:tgtEl>
                                          <p:spTgt spid="43"/>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wipe(down)">
                                      <p:cBhvr>
                                        <p:cTn id="64" dur="500"/>
                                        <p:tgtEl>
                                          <p:spTgt spid="42"/>
                                        </p:tgtEl>
                                      </p:cBhvr>
                                    </p:animEffect>
                                  </p:childTnLst>
                                </p:cTn>
                              </p:par>
                              <p:par>
                                <p:cTn id="65" presetID="22" presetClass="entr" presetSubtype="4" fill="hold" grpId="0" nodeType="with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wipe(down)">
                                      <p:cBhvr>
                                        <p:cTn id="67" dur="500"/>
                                        <p:tgtEl>
                                          <p:spTgt spid="41"/>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wipe(down)">
                                      <p:cBhvr>
                                        <p:cTn id="70" dur="500"/>
                                        <p:tgtEl>
                                          <p:spTgt spid="47"/>
                                        </p:tgtEl>
                                      </p:cBhvr>
                                    </p:animEffect>
                                  </p:childTnLst>
                                </p:cTn>
                              </p:par>
                              <p:par>
                                <p:cTn id="71" presetID="22" presetClass="entr" presetSubtype="4" fill="hold" grpId="0" nodeType="withEffect">
                                  <p:stCondLst>
                                    <p:cond delay="0"/>
                                  </p:stCondLst>
                                  <p:childTnLst>
                                    <p:set>
                                      <p:cBhvr>
                                        <p:cTn id="72" dur="1" fill="hold">
                                          <p:stCondLst>
                                            <p:cond delay="0"/>
                                          </p:stCondLst>
                                        </p:cTn>
                                        <p:tgtEl>
                                          <p:spTgt spid="48"/>
                                        </p:tgtEl>
                                        <p:attrNameLst>
                                          <p:attrName>style.visibility</p:attrName>
                                        </p:attrNameLst>
                                      </p:cBhvr>
                                      <p:to>
                                        <p:strVal val="visible"/>
                                      </p:to>
                                    </p:set>
                                    <p:animEffect transition="in" filter="wipe(down)">
                                      <p:cBhvr>
                                        <p:cTn id="7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4" grpId="0" animBg="1"/>
      <p:bldP spid="5" grpId="0" animBg="1"/>
      <p:bldP spid="30" grpId="0" animBg="1"/>
      <p:bldP spid="31" grpId="0" animBg="1"/>
      <p:bldP spid="32" grpId="0" animBg="1"/>
      <p:bldP spid="34" grpId="0" animBg="1"/>
      <p:bldP spid="35" grpId="0" animBg="1"/>
      <p:bldP spid="36" grpId="0" animBg="1"/>
      <p:bldP spid="37" grpId="0" animBg="1"/>
      <p:bldP spid="38" grpId="0" animBg="1"/>
      <p:bldP spid="39" grpId="0" animBg="1"/>
      <p:bldP spid="40" grpId="0" animBg="1"/>
      <p:bldP spid="41" grpId="0" animBg="1"/>
      <p:bldP spid="42" grpId="0" animBg="1"/>
      <p:bldP spid="26" grpId="0" animBg="1"/>
      <p:bldP spid="43" grpId="0" animBg="1"/>
      <p:bldP spid="47" grpId="0" animBg="1"/>
      <p:bldP spid="4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GIKGV\Desktop\Layout\Fotos Storyline\Man_wearing_vr_glasses.jp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0" y="0"/>
            <a:ext cx="12185650" cy="6951663"/>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592948" y="2901352"/>
            <a:ext cx="11218052" cy="2295488"/>
            <a:chOff x="592948" y="2002192"/>
            <a:chExt cx="11218052" cy="2295488"/>
          </a:xfrm>
        </p:grpSpPr>
        <p:grpSp>
          <p:nvGrpSpPr>
            <p:cNvPr id="3" name="Group 2"/>
            <p:cNvGrpSpPr/>
            <p:nvPr/>
          </p:nvGrpSpPr>
          <p:grpSpPr>
            <a:xfrm>
              <a:off x="592948" y="2002192"/>
              <a:ext cx="11218052" cy="2295488"/>
              <a:chOff x="1290676" y="2002192"/>
              <a:chExt cx="10068552" cy="2021167"/>
            </a:xfrm>
          </p:grpSpPr>
          <p:sp>
            <p:nvSpPr>
              <p:cNvPr id="86" name="Rectangle 18">
                <a:extLst>
                  <a:ext uri="{FF2B5EF4-FFF2-40B4-BE49-F238E27FC236}">
                    <a16:creationId xmlns:a16="http://schemas.microsoft.com/office/drawing/2014/main" xmlns="" id="{62DB2E72-C276-412E-9D53-828D32D5EBC1}"/>
                  </a:ext>
                </a:extLst>
              </p:cNvPr>
              <p:cNvSpPr/>
              <p:nvPr/>
            </p:nvSpPr>
            <p:spPr bwMode="auto">
              <a:xfrm>
                <a:off x="1290676" y="2002192"/>
                <a:ext cx="1717028" cy="2021167"/>
              </a:xfrm>
              <a:prstGeom prst="rect">
                <a:avLst/>
              </a:prstGeom>
              <a:solidFill>
                <a:srgbClr val="2F9C40"/>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a:p>
            </p:txBody>
          </p:sp>
          <p:sp>
            <p:nvSpPr>
              <p:cNvPr id="88" name="Rectangle 35">
                <a:extLst>
                  <a:ext uri="{FF2B5EF4-FFF2-40B4-BE49-F238E27FC236}">
                    <a16:creationId xmlns:a16="http://schemas.microsoft.com/office/drawing/2014/main" xmlns="" id="{9B56064C-4BE2-4B4B-812E-67A9007443E0}"/>
                  </a:ext>
                </a:extLst>
              </p:cNvPr>
              <p:cNvSpPr/>
              <p:nvPr/>
            </p:nvSpPr>
            <p:spPr bwMode="auto">
              <a:xfrm>
                <a:off x="5466419" y="2002192"/>
                <a:ext cx="1717028" cy="2021167"/>
              </a:xfrm>
              <a:prstGeom prst="rect">
                <a:avLst/>
              </a:prstGeom>
              <a:solidFill>
                <a:srgbClr val="9F4292"/>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a:p>
            </p:txBody>
          </p:sp>
          <p:sp>
            <p:nvSpPr>
              <p:cNvPr id="90" name="Rectangle 18">
                <a:extLst>
                  <a:ext uri="{FF2B5EF4-FFF2-40B4-BE49-F238E27FC236}">
                    <a16:creationId xmlns:a16="http://schemas.microsoft.com/office/drawing/2014/main" xmlns="" id="{1C262A4D-8795-4D41-9E39-AC32B88C311A}"/>
                  </a:ext>
                </a:extLst>
              </p:cNvPr>
              <p:cNvSpPr/>
              <p:nvPr/>
            </p:nvSpPr>
            <p:spPr bwMode="auto">
              <a:xfrm>
                <a:off x="3378555" y="2002192"/>
                <a:ext cx="1717028" cy="2021167"/>
              </a:xfrm>
              <a:prstGeom prst="rect">
                <a:avLst/>
              </a:prstGeom>
              <a:solidFill>
                <a:srgbClr val="0070C0"/>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a:p>
            </p:txBody>
          </p:sp>
          <p:sp>
            <p:nvSpPr>
              <p:cNvPr id="92" name="Rectangle 18">
                <a:extLst>
                  <a:ext uri="{FF2B5EF4-FFF2-40B4-BE49-F238E27FC236}">
                    <a16:creationId xmlns:a16="http://schemas.microsoft.com/office/drawing/2014/main" xmlns="" id="{AF80F3F0-FC65-4EDD-B854-8536C8E6FEB5}"/>
                  </a:ext>
                </a:extLst>
              </p:cNvPr>
              <p:cNvSpPr/>
              <p:nvPr/>
            </p:nvSpPr>
            <p:spPr bwMode="auto">
              <a:xfrm>
                <a:off x="7554299" y="2002192"/>
                <a:ext cx="1717028" cy="2021167"/>
              </a:xfrm>
              <a:prstGeom prst="rect">
                <a:avLst/>
              </a:prstGeom>
              <a:solidFill>
                <a:srgbClr val="FFC000"/>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a:p>
            </p:txBody>
          </p:sp>
          <p:sp>
            <p:nvSpPr>
              <p:cNvPr id="94" name="Rectangle 18">
                <a:extLst>
                  <a:ext uri="{FF2B5EF4-FFF2-40B4-BE49-F238E27FC236}">
                    <a16:creationId xmlns:a16="http://schemas.microsoft.com/office/drawing/2014/main" xmlns="" id="{1B83FA48-E800-4E81-9FE9-9B7003FD9285}"/>
                  </a:ext>
                </a:extLst>
              </p:cNvPr>
              <p:cNvSpPr/>
              <p:nvPr/>
            </p:nvSpPr>
            <p:spPr bwMode="auto">
              <a:xfrm>
                <a:off x="9642200" y="2002192"/>
                <a:ext cx="1717028" cy="2021167"/>
              </a:xfrm>
              <a:prstGeom prst="rect">
                <a:avLst/>
              </a:prstGeom>
              <a:solidFill>
                <a:srgbClr val="E9488C"/>
              </a:soli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a:p>
            </p:txBody>
          </p:sp>
        </p:grpSp>
        <p:sp>
          <p:nvSpPr>
            <p:cNvPr id="87" name="Rectangle 19">
              <a:extLst>
                <a:ext uri="{FF2B5EF4-FFF2-40B4-BE49-F238E27FC236}">
                  <a16:creationId xmlns:a16="http://schemas.microsoft.com/office/drawing/2014/main" xmlns="" id="{D54A45C8-F7C5-42FD-A690-D8A080D1BD4C}"/>
                </a:ext>
              </a:extLst>
            </p:cNvPr>
            <p:cNvSpPr/>
            <p:nvPr/>
          </p:nvSpPr>
          <p:spPr>
            <a:xfrm>
              <a:off x="705334" y="2823771"/>
              <a:ext cx="1907351" cy="400067"/>
            </a:xfrm>
            <a:prstGeom prst="rect">
              <a:avLst/>
            </a:prstGeom>
            <a:noFill/>
          </p:spPr>
          <p:txBody>
            <a:bodyPr wrap="square" lIns="91440" tIns="45699" rIns="91440" bIns="45699" anchor="ctr">
              <a:spAutoFit/>
            </a:bodyPr>
            <a:lstStyle/>
            <a:p>
              <a:r>
                <a:rPr lang="de-DE" sz="2000" b="1" dirty="0" err="1" smtClean="0">
                  <a:solidFill>
                    <a:srgbClr val="FFFFFF"/>
                  </a:solidFill>
                </a:rPr>
                <a:t>Personalized</a:t>
              </a:r>
              <a:endParaRPr lang="en-US" sz="2000" b="1" dirty="0">
                <a:solidFill>
                  <a:srgbClr val="FFFFFF"/>
                </a:solidFill>
              </a:endParaRPr>
            </a:p>
          </p:txBody>
        </p:sp>
        <p:sp>
          <p:nvSpPr>
            <p:cNvPr id="89" name="Rectangle 36">
              <a:extLst>
                <a:ext uri="{FF2B5EF4-FFF2-40B4-BE49-F238E27FC236}">
                  <a16:creationId xmlns:a16="http://schemas.microsoft.com/office/drawing/2014/main" xmlns="" id="{72DD911F-EFEF-48BF-B16A-0CD79C4E8945}"/>
                </a:ext>
              </a:extLst>
            </p:cNvPr>
            <p:cNvSpPr/>
            <p:nvPr/>
          </p:nvSpPr>
          <p:spPr>
            <a:xfrm>
              <a:off x="5383998" y="2683633"/>
              <a:ext cx="1550227" cy="1015620"/>
            </a:xfrm>
            <a:prstGeom prst="rect">
              <a:avLst/>
            </a:prstGeom>
            <a:noFill/>
          </p:spPr>
          <p:txBody>
            <a:bodyPr wrap="square" lIns="91440" tIns="45699" rIns="91440" bIns="45699" anchor="ctr">
              <a:spAutoFit/>
            </a:bodyPr>
            <a:lstStyle/>
            <a:p>
              <a:pPr algn="ctr"/>
              <a:r>
                <a:rPr lang="en-US" sz="2000" b="1" dirty="0" smtClean="0">
                  <a:solidFill>
                    <a:srgbClr val="FFFFFF"/>
                  </a:solidFill>
                </a:rPr>
                <a:t>Feedback / Sharing is Caring</a:t>
              </a:r>
              <a:endParaRPr lang="en-US" sz="2000" b="1" dirty="0">
                <a:solidFill>
                  <a:srgbClr val="FFFFFF"/>
                </a:solidFill>
              </a:endParaRPr>
            </a:p>
          </p:txBody>
        </p:sp>
        <p:sp>
          <p:nvSpPr>
            <p:cNvPr id="91" name="Rectangle 19">
              <a:extLst>
                <a:ext uri="{FF2B5EF4-FFF2-40B4-BE49-F238E27FC236}">
                  <a16:creationId xmlns:a16="http://schemas.microsoft.com/office/drawing/2014/main" xmlns="" id="{3AB79687-2A5E-4D3A-B23F-25F297DE4F90}"/>
                </a:ext>
              </a:extLst>
            </p:cNvPr>
            <p:cNvSpPr/>
            <p:nvPr/>
          </p:nvSpPr>
          <p:spPr>
            <a:xfrm>
              <a:off x="3021795" y="2669881"/>
              <a:ext cx="1765492" cy="707844"/>
            </a:xfrm>
            <a:prstGeom prst="rect">
              <a:avLst/>
            </a:prstGeom>
            <a:noFill/>
          </p:spPr>
          <p:txBody>
            <a:bodyPr wrap="square" lIns="91440" tIns="45699" rIns="91440" bIns="45699" anchor="ctr">
              <a:spAutoFit/>
            </a:bodyPr>
            <a:lstStyle/>
            <a:p>
              <a:pPr algn="ctr"/>
              <a:r>
                <a:rPr lang="en-US" sz="2000" b="1" dirty="0" smtClean="0">
                  <a:solidFill>
                    <a:srgbClr val="FFFFFF"/>
                  </a:solidFill>
                </a:rPr>
                <a:t>Accessible / </a:t>
              </a:r>
              <a:br>
                <a:rPr lang="en-US" sz="2000" b="1" dirty="0" smtClean="0">
                  <a:solidFill>
                    <a:srgbClr val="FFFFFF"/>
                  </a:solidFill>
                </a:rPr>
              </a:br>
              <a:r>
                <a:rPr lang="en-US" sz="2000" b="1" dirty="0" smtClean="0">
                  <a:solidFill>
                    <a:srgbClr val="FFFFFF"/>
                  </a:solidFill>
                </a:rPr>
                <a:t>Push &amp; Pull</a:t>
              </a:r>
              <a:endParaRPr lang="en-US" sz="2000" b="1" dirty="0">
                <a:solidFill>
                  <a:srgbClr val="FFFFFF"/>
                </a:solidFill>
              </a:endParaRPr>
            </a:p>
          </p:txBody>
        </p:sp>
        <p:sp>
          <p:nvSpPr>
            <p:cNvPr id="93" name="Rectangle 19">
              <a:extLst>
                <a:ext uri="{FF2B5EF4-FFF2-40B4-BE49-F238E27FC236}">
                  <a16:creationId xmlns:a16="http://schemas.microsoft.com/office/drawing/2014/main" xmlns="" id="{243A0854-6E49-45B2-8A2D-E7812C4C2824}"/>
                </a:ext>
              </a:extLst>
            </p:cNvPr>
            <p:cNvSpPr/>
            <p:nvPr/>
          </p:nvSpPr>
          <p:spPr>
            <a:xfrm>
              <a:off x="7654758" y="2683633"/>
              <a:ext cx="1703728" cy="1015620"/>
            </a:xfrm>
            <a:prstGeom prst="rect">
              <a:avLst/>
            </a:prstGeom>
            <a:noFill/>
          </p:spPr>
          <p:txBody>
            <a:bodyPr wrap="square" lIns="91440" tIns="45699" rIns="91440" bIns="45699" anchor="ctr">
              <a:spAutoFit/>
            </a:bodyPr>
            <a:lstStyle/>
            <a:p>
              <a:pPr algn="ctr"/>
              <a:r>
                <a:rPr lang="en-US" sz="2000" b="1" dirty="0" smtClean="0">
                  <a:solidFill>
                    <a:srgbClr val="FFFFFF"/>
                  </a:solidFill>
                </a:rPr>
                <a:t>Reward Continuous Learning</a:t>
              </a:r>
              <a:endParaRPr lang="en-US" sz="2000" b="1" dirty="0">
                <a:solidFill>
                  <a:srgbClr val="FFFFFF"/>
                </a:solidFill>
              </a:endParaRPr>
            </a:p>
          </p:txBody>
        </p:sp>
        <p:sp>
          <p:nvSpPr>
            <p:cNvPr id="95" name="Rectangle 19">
              <a:extLst>
                <a:ext uri="{FF2B5EF4-FFF2-40B4-BE49-F238E27FC236}">
                  <a16:creationId xmlns:a16="http://schemas.microsoft.com/office/drawing/2014/main" xmlns="" id="{581E3904-7A5B-4AA4-9C37-4794E2477DCC}"/>
                </a:ext>
              </a:extLst>
            </p:cNvPr>
            <p:cNvSpPr/>
            <p:nvPr/>
          </p:nvSpPr>
          <p:spPr>
            <a:xfrm>
              <a:off x="10108417" y="2761320"/>
              <a:ext cx="1550227" cy="707844"/>
            </a:xfrm>
            <a:prstGeom prst="rect">
              <a:avLst/>
            </a:prstGeom>
            <a:noFill/>
          </p:spPr>
          <p:txBody>
            <a:bodyPr wrap="square" lIns="91440" tIns="45699" rIns="91440" bIns="45699" anchor="ctr">
              <a:spAutoFit/>
            </a:bodyPr>
            <a:lstStyle/>
            <a:p>
              <a:pPr algn="ctr"/>
              <a:r>
                <a:rPr lang="en-US" sz="2000" b="1" dirty="0" smtClean="0">
                  <a:solidFill>
                    <a:srgbClr val="FFFFFF"/>
                  </a:solidFill>
                </a:rPr>
                <a:t>Lead by example</a:t>
              </a:r>
              <a:endParaRPr lang="en-US" sz="2000" b="1" dirty="0">
                <a:solidFill>
                  <a:srgbClr val="FFFFFF"/>
                </a:solidFill>
              </a:endParaRPr>
            </a:p>
          </p:txBody>
        </p:sp>
        <p:grpSp>
          <p:nvGrpSpPr>
            <p:cNvPr id="96" name="Group 39"/>
            <p:cNvGrpSpPr/>
            <p:nvPr/>
          </p:nvGrpSpPr>
          <p:grpSpPr>
            <a:xfrm>
              <a:off x="2089894" y="2049588"/>
              <a:ext cx="324000" cy="324000"/>
              <a:chOff x="1788234" y="2047508"/>
              <a:chExt cx="504000" cy="504000"/>
            </a:xfrm>
          </p:grpSpPr>
          <p:sp>
            <p:nvSpPr>
              <p:cNvPr id="97" name="Rectangle 18">
                <a:extLst>
                  <a:ext uri="{FF2B5EF4-FFF2-40B4-BE49-F238E27FC236}">
                    <a16:creationId xmlns:a16="http://schemas.microsoft.com/office/drawing/2014/main" xmlns="" id="{4880103F-EFD3-4945-844C-E05FE65FD0D1}"/>
                  </a:ext>
                </a:extLst>
              </p:cNvPr>
              <p:cNvSpPr/>
              <p:nvPr>
                <p:custDataLst>
                  <p:tags r:id="rId5"/>
                </p:custDataLst>
              </p:nvPr>
            </p:nvSpPr>
            <p:spPr bwMode="auto">
              <a:xfrm>
                <a:off x="1788234" y="2047508"/>
                <a:ext cx="504000" cy="504000"/>
              </a:xfrm>
              <a:prstGeom prst="ellipse">
                <a:avLst/>
              </a:prstGeom>
              <a:solidFill>
                <a:srgbClr val="2F9C40"/>
              </a:solidFill>
              <a:ln w="28575" algn="ctr">
                <a:solidFill>
                  <a:schemeClr val="bg1"/>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98" name="Freeform 118">
                <a:extLst>
                  <a:ext uri="{FF2B5EF4-FFF2-40B4-BE49-F238E27FC236}">
                    <a16:creationId xmlns:a16="http://schemas.microsoft.com/office/drawing/2014/main" xmlns="" id="{7AA8A3E9-D0FF-4BB3-9E97-53F04DBF80A5}"/>
                  </a:ext>
                </a:extLst>
              </p:cNvPr>
              <p:cNvSpPr>
                <a:spLocks/>
              </p:cNvSpPr>
              <p:nvPr>
                <p:custDataLst>
                  <p:tags r:id="rId6"/>
                </p:custDataLst>
              </p:nvPr>
            </p:nvSpPr>
            <p:spPr bwMode="auto">
              <a:xfrm>
                <a:off x="1891688" y="2117171"/>
                <a:ext cx="297092" cy="292634"/>
              </a:xfrm>
              <a:custGeom>
                <a:avLst/>
                <a:gdLst>
                  <a:gd name="T0" fmla="*/ 105 w 256"/>
                  <a:gd name="T1" fmla="*/ 6 h 253"/>
                  <a:gd name="T2" fmla="*/ 173 w 256"/>
                  <a:gd name="T3" fmla="*/ 21 h 253"/>
                  <a:gd name="T4" fmla="*/ 187 w 256"/>
                  <a:gd name="T5" fmla="*/ 93 h 253"/>
                  <a:gd name="T6" fmla="*/ 161 w 256"/>
                  <a:gd name="T7" fmla="*/ 159 h 253"/>
                  <a:gd name="T8" fmla="*/ 237 w 256"/>
                  <a:gd name="T9" fmla="*/ 197 h 253"/>
                  <a:gd name="T10" fmla="*/ 252 w 256"/>
                  <a:gd name="T11" fmla="*/ 252 h 253"/>
                  <a:gd name="T12" fmla="*/ 4 w 256"/>
                  <a:gd name="T13" fmla="*/ 253 h 253"/>
                  <a:gd name="T14" fmla="*/ 15 w 256"/>
                  <a:gd name="T15" fmla="*/ 199 h 253"/>
                  <a:gd name="T16" fmla="*/ 87 w 256"/>
                  <a:gd name="T17" fmla="*/ 172 h 253"/>
                  <a:gd name="T18" fmla="*/ 90 w 256"/>
                  <a:gd name="T19" fmla="*/ 148 h 253"/>
                  <a:gd name="T20" fmla="*/ 66 w 256"/>
                  <a:gd name="T21" fmla="*/ 55 h 253"/>
                  <a:gd name="T22" fmla="*/ 105 w 256"/>
                  <a:gd name="T23" fmla="*/ 6 h 2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6" h="253">
                    <a:moveTo>
                      <a:pt x="105" y="6"/>
                    </a:moveTo>
                    <a:cubicBezTo>
                      <a:pt x="128" y="0"/>
                      <a:pt x="156" y="3"/>
                      <a:pt x="173" y="21"/>
                    </a:cubicBezTo>
                    <a:cubicBezTo>
                      <a:pt x="192" y="40"/>
                      <a:pt x="192" y="69"/>
                      <a:pt x="187" y="93"/>
                    </a:cubicBezTo>
                    <a:cubicBezTo>
                      <a:pt x="182" y="117"/>
                      <a:pt x="169" y="137"/>
                      <a:pt x="161" y="159"/>
                    </a:cubicBezTo>
                    <a:cubicBezTo>
                      <a:pt x="173" y="190"/>
                      <a:pt x="213" y="183"/>
                      <a:pt x="237" y="197"/>
                    </a:cubicBezTo>
                    <a:cubicBezTo>
                      <a:pt x="256" y="209"/>
                      <a:pt x="252" y="233"/>
                      <a:pt x="252" y="252"/>
                    </a:cubicBezTo>
                    <a:cubicBezTo>
                      <a:pt x="170" y="252"/>
                      <a:pt x="87" y="252"/>
                      <a:pt x="4" y="253"/>
                    </a:cubicBezTo>
                    <a:cubicBezTo>
                      <a:pt x="2" y="235"/>
                      <a:pt x="0" y="212"/>
                      <a:pt x="15" y="199"/>
                    </a:cubicBezTo>
                    <a:cubicBezTo>
                      <a:pt x="37" y="185"/>
                      <a:pt x="67" y="189"/>
                      <a:pt x="87" y="172"/>
                    </a:cubicBezTo>
                    <a:cubicBezTo>
                      <a:pt x="94" y="166"/>
                      <a:pt x="94" y="156"/>
                      <a:pt x="90" y="148"/>
                    </a:cubicBezTo>
                    <a:cubicBezTo>
                      <a:pt x="75" y="120"/>
                      <a:pt x="62" y="88"/>
                      <a:pt x="66" y="55"/>
                    </a:cubicBezTo>
                    <a:cubicBezTo>
                      <a:pt x="69" y="33"/>
                      <a:pt x="84" y="13"/>
                      <a:pt x="105" y="6"/>
                    </a:cubicBezTo>
                    <a:close/>
                  </a:path>
                </a:pathLst>
              </a:custGeom>
              <a:solidFill>
                <a:schemeClr val="bg1"/>
              </a:solidFill>
              <a:ln>
                <a:noFill/>
              </a:ln>
              <a:extLst/>
            </p:spPr>
            <p:txBody>
              <a:bodyPr/>
              <a:lstStyle/>
              <a:p>
                <a:endParaRPr lang="en-CA"/>
              </a:p>
            </p:txBody>
          </p:sp>
          <p:sp>
            <p:nvSpPr>
              <p:cNvPr id="99" name="Freeform 45">
                <a:extLst>
                  <a:ext uri="{FF2B5EF4-FFF2-40B4-BE49-F238E27FC236}">
                    <a16:creationId xmlns:a16="http://schemas.microsoft.com/office/drawing/2014/main" xmlns="" id="{C4108BF9-40FE-47B8-9F14-58A92D3125D5}"/>
                  </a:ext>
                </a:extLst>
              </p:cNvPr>
              <p:cNvSpPr>
                <a:spLocks noEditPoints="1"/>
              </p:cNvSpPr>
              <p:nvPr/>
            </p:nvSpPr>
            <p:spPr bwMode="auto">
              <a:xfrm rot="20790721">
                <a:off x="2025481" y="2222508"/>
                <a:ext cx="58852" cy="58547"/>
              </a:xfrm>
              <a:custGeom>
                <a:avLst/>
                <a:gdLst/>
                <a:ahLst/>
                <a:cxnLst>
                  <a:cxn ang="0">
                    <a:pos x="88" y="41"/>
                  </a:cxn>
                  <a:cxn ang="0">
                    <a:pos x="81" y="31"/>
                  </a:cxn>
                  <a:cxn ang="0">
                    <a:pos x="85" y="22"/>
                  </a:cxn>
                  <a:cxn ang="0">
                    <a:pos x="79" y="11"/>
                  </a:cxn>
                  <a:cxn ang="0">
                    <a:pos x="71" y="15"/>
                  </a:cxn>
                  <a:cxn ang="0">
                    <a:pos x="59" y="13"/>
                  </a:cxn>
                  <a:cxn ang="0">
                    <a:pos x="55" y="4"/>
                  </a:cxn>
                  <a:cxn ang="0">
                    <a:pos x="44" y="0"/>
                  </a:cxn>
                  <a:cxn ang="0">
                    <a:pos x="41" y="8"/>
                  </a:cxn>
                  <a:cxn ang="0">
                    <a:pos x="31" y="15"/>
                  </a:cxn>
                  <a:cxn ang="0">
                    <a:pos x="22" y="11"/>
                  </a:cxn>
                  <a:cxn ang="0">
                    <a:pos x="11" y="17"/>
                  </a:cxn>
                  <a:cxn ang="0">
                    <a:pos x="15" y="25"/>
                  </a:cxn>
                  <a:cxn ang="0">
                    <a:pos x="13" y="37"/>
                  </a:cxn>
                  <a:cxn ang="0">
                    <a:pos x="4" y="41"/>
                  </a:cxn>
                  <a:cxn ang="0">
                    <a:pos x="0" y="52"/>
                  </a:cxn>
                  <a:cxn ang="0">
                    <a:pos x="8" y="55"/>
                  </a:cxn>
                  <a:cxn ang="0">
                    <a:pos x="15" y="65"/>
                  </a:cxn>
                  <a:cxn ang="0">
                    <a:pos x="11" y="74"/>
                  </a:cxn>
                  <a:cxn ang="0">
                    <a:pos x="17" y="85"/>
                  </a:cxn>
                  <a:cxn ang="0">
                    <a:pos x="25" y="81"/>
                  </a:cxn>
                  <a:cxn ang="0">
                    <a:pos x="37" y="83"/>
                  </a:cxn>
                  <a:cxn ang="0">
                    <a:pos x="41" y="92"/>
                  </a:cxn>
                  <a:cxn ang="0">
                    <a:pos x="52" y="96"/>
                  </a:cxn>
                  <a:cxn ang="0">
                    <a:pos x="55" y="88"/>
                  </a:cxn>
                  <a:cxn ang="0">
                    <a:pos x="65" y="81"/>
                  </a:cxn>
                  <a:cxn ang="0">
                    <a:pos x="74" y="85"/>
                  </a:cxn>
                  <a:cxn ang="0">
                    <a:pos x="85" y="79"/>
                  </a:cxn>
                  <a:cxn ang="0">
                    <a:pos x="81" y="71"/>
                  </a:cxn>
                  <a:cxn ang="0">
                    <a:pos x="83" y="59"/>
                  </a:cxn>
                  <a:cxn ang="0">
                    <a:pos x="92" y="55"/>
                  </a:cxn>
                  <a:cxn ang="0">
                    <a:pos x="96" y="44"/>
                  </a:cxn>
                  <a:cxn ang="0">
                    <a:pos x="66" y="48"/>
                  </a:cxn>
                  <a:cxn ang="0">
                    <a:pos x="30" y="48"/>
                  </a:cxn>
                  <a:cxn ang="0">
                    <a:pos x="66" y="48"/>
                  </a:cxn>
                </a:cxnLst>
                <a:rect l="0" t="0" r="r" b="b"/>
                <a:pathLst>
                  <a:path w="96" h="96">
                    <a:moveTo>
                      <a:pt x="92" y="41"/>
                    </a:moveTo>
                    <a:cubicBezTo>
                      <a:pt x="88" y="41"/>
                      <a:pt x="88" y="41"/>
                      <a:pt x="88" y="41"/>
                    </a:cubicBezTo>
                    <a:cubicBezTo>
                      <a:pt x="86" y="41"/>
                      <a:pt x="84" y="39"/>
                      <a:pt x="83" y="37"/>
                    </a:cubicBezTo>
                    <a:cubicBezTo>
                      <a:pt x="81" y="31"/>
                      <a:pt x="81" y="31"/>
                      <a:pt x="81" y="31"/>
                    </a:cubicBezTo>
                    <a:cubicBezTo>
                      <a:pt x="80" y="29"/>
                      <a:pt x="80" y="26"/>
                      <a:pt x="81" y="25"/>
                    </a:cubicBezTo>
                    <a:cubicBezTo>
                      <a:pt x="85" y="22"/>
                      <a:pt x="85" y="22"/>
                      <a:pt x="85" y="22"/>
                    </a:cubicBezTo>
                    <a:cubicBezTo>
                      <a:pt x="86" y="20"/>
                      <a:pt x="86" y="18"/>
                      <a:pt x="85" y="17"/>
                    </a:cubicBezTo>
                    <a:cubicBezTo>
                      <a:pt x="79" y="11"/>
                      <a:pt x="79" y="11"/>
                      <a:pt x="79" y="11"/>
                    </a:cubicBezTo>
                    <a:cubicBezTo>
                      <a:pt x="78" y="10"/>
                      <a:pt x="76" y="10"/>
                      <a:pt x="74" y="11"/>
                    </a:cubicBezTo>
                    <a:cubicBezTo>
                      <a:pt x="71" y="15"/>
                      <a:pt x="71" y="15"/>
                      <a:pt x="71" y="15"/>
                    </a:cubicBezTo>
                    <a:cubicBezTo>
                      <a:pt x="70" y="16"/>
                      <a:pt x="67" y="16"/>
                      <a:pt x="65" y="15"/>
                    </a:cubicBezTo>
                    <a:cubicBezTo>
                      <a:pt x="59" y="13"/>
                      <a:pt x="59" y="13"/>
                      <a:pt x="59" y="13"/>
                    </a:cubicBezTo>
                    <a:cubicBezTo>
                      <a:pt x="57" y="12"/>
                      <a:pt x="55" y="10"/>
                      <a:pt x="55" y="8"/>
                    </a:cubicBezTo>
                    <a:cubicBezTo>
                      <a:pt x="55" y="4"/>
                      <a:pt x="55" y="4"/>
                      <a:pt x="55" y="4"/>
                    </a:cubicBezTo>
                    <a:cubicBezTo>
                      <a:pt x="55" y="2"/>
                      <a:pt x="54" y="0"/>
                      <a:pt x="52" y="0"/>
                    </a:cubicBezTo>
                    <a:cubicBezTo>
                      <a:pt x="44" y="0"/>
                      <a:pt x="44" y="0"/>
                      <a:pt x="44" y="0"/>
                    </a:cubicBezTo>
                    <a:cubicBezTo>
                      <a:pt x="42" y="0"/>
                      <a:pt x="41" y="2"/>
                      <a:pt x="41" y="4"/>
                    </a:cubicBezTo>
                    <a:cubicBezTo>
                      <a:pt x="41" y="8"/>
                      <a:pt x="41" y="8"/>
                      <a:pt x="41" y="8"/>
                    </a:cubicBezTo>
                    <a:cubicBezTo>
                      <a:pt x="41" y="10"/>
                      <a:pt x="39" y="12"/>
                      <a:pt x="37" y="13"/>
                    </a:cubicBezTo>
                    <a:cubicBezTo>
                      <a:pt x="31" y="15"/>
                      <a:pt x="31" y="15"/>
                      <a:pt x="31" y="15"/>
                    </a:cubicBezTo>
                    <a:cubicBezTo>
                      <a:pt x="29" y="16"/>
                      <a:pt x="26" y="16"/>
                      <a:pt x="25" y="15"/>
                    </a:cubicBezTo>
                    <a:cubicBezTo>
                      <a:pt x="22" y="11"/>
                      <a:pt x="22" y="11"/>
                      <a:pt x="22" y="11"/>
                    </a:cubicBezTo>
                    <a:cubicBezTo>
                      <a:pt x="20" y="10"/>
                      <a:pt x="18" y="10"/>
                      <a:pt x="17" y="11"/>
                    </a:cubicBezTo>
                    <a:cubicBezTo>
                      <a:pt x="11" y="17"/>
                      <a:pt x="11" y="17"/>
                      <a:pt x="11" y="17"/>
                    </a:cubicBezTo>
                    <a:cubicBezTo>
                      <a:pt x="10" y="18"/>
                      <a:pt x="10" y="20"/>
                      <a:pt x="11" y="22"/>
                    </a:cubicBezTo>
                    <a:cubicBezTo>
                      <a:pt x="15" y="25"/>
                      <a:pt x="15" y="25"/>
                      <a:pt x="15" y="25"/>
                    </a:cubicBezTo>
                    <a:cubicBezTo>
                      <a:pt x="16" y="26"/>
                      <a:pt x="16" y="29"/>
                      <a:pt x="15" y="31"/>
                    </a:cubicBezTo>
                    <a:cubicBezTo>
                      <a:pt x="13" y="37"/>
                      <a:pt x="13" y="37"/>
                      <a:pt x="13" y="37"/>
                    </a:cubicBezTo>
                    <a:cubicBezTo>
                      <a:pt x="12" y="39"/>
                      <a:pt x="10" y="41"/>
                      <a:pt x="8" y="41"/>
                    </a:cubicBezTo>
                    <a:cubicBezTo>
                      <a:pt x="4" y="41"/>
                      <a:pt x="4" y="41"/>
                      <a:pt x="4" y="41"/>
                    </a:cubicBezTo>
                    <a:cubicBezTo>
                      <a:pt x="2" y="41"/>
                      <a:pt x="0" y="42"/>
                      <a:pt x="0" y="44"/>
                    </a:cubicBezTo>
                    <a:cubicBezTo>
                      <a:pt x="0" y="52"/>
                      <a:pt x="0" y="52"/>
                      <a:pt x="0" y="52"/>
                    </a:cubicBezTo>
                    <a:cubicBezTo>
                      <a:pt x="0" y="54"/>
                      <a:pt x="2" y="55"/>
                      <a:pt x="4" y="55"/>
                    </a:cubicBezTo>
                    <a:cubicBezTo>
                      <a:pt x="8" y="55"/>
                      <a:pt x="8" y="55"/>
                      <a:pt x="8" y="55"/>
                    </a:cubicBezTo>
                    <a:cubicBezTo>
                      <a:pt x="10" y="55"/>
                      <a:pt x="12" y="57"/>
                      <a:pt x="13" y="59"/>
                    </a:cubicBezTo>
                    <a:cubicBezTo>
                      <a:pt x="15" y="65"/>
                      <a:pt x="15" y="65"/>
                      <a:pt x="15" y="65"/>
                    </a:cubicBezTo>
                    <a:cubicBezTo>
                      <a:pt x="16" y="67"/>
                      <a:pt x="16" y="70"/>
                      <a:pt x="15" y="71"/>
                    </a:cubicBezTo>
                    <a:cubicBezTo>
                      <a:pt x="11" y="74"/>
                      <a:pt x="11" y="74"/>
                      <a:pt x="11" y="74"/>
                    </a:cubicBezTo>
                    <a:cubicBezTo>
                      <a:pt x="10" y="76"/>
                      <a:pt x="10" y="78"/>
                      <a:pt x="11" y="79"/>
                    </a:cubicBezTo>
                    <a:cubicBezTo>
                      <a:pt x="17" y="85"/>
                      <a:pt x="17" y="85"/>
                      <a:pt x="17" y="85"/>
                    </a:cubicBezTo>
                    <a:cubicBezTo>
                      <a:pt x="18" y="86"/>
                      <a:pt x="20" y="86"/>
                      <a:pt x="22" y="85"/>
                    </a:cubicBezTo>
                    <a:cubicBezTo>
                      <a:pt x="25" y="81"/>
                      <a:pt x="25" y="81"/>
                      <a:pt x="25" y="81"/>
                    </a:cubicBezTo>
                    <a:cubicBezTo>
                      <a:pt x="26" y="80"/>
                      <a:pt x="29" y="80"/>
                      <a:pt x="31" y="81"/>
                    </a:cubicBezTo>
                    <a:cubicBezTo>
                      <a:pt x="37" y="83"/>
                      <a:pt x="37" y="83"/>
                      <a:pt x="37" y="83"/>
                    </a:cubicBezTo>
                    <a:cubicBezTo>
                      <a:pt x="39" y="84"/>
                      <a:pt x="41" y="86"/>
                      <a:pt x="41" y="88"/>
                    </a:cubicBezTo>
                    <a:cubicBezTo>
                      <a:pt x="41" y="92"/>
                      <a:pt x="41" y="92"/>
                      <a:pt x="41" y="92"/>
                    </a:cubicBezTo>
                    <a:cubicBezTo>
                      <a:pt x="41" y="94"/>
                      <a:pt x="42" y="96"/>
                      <a:pt x="44" y="96"/>
                    </a:cubicBezTo>
                    <a:cubicBezTo>
                      <a:pt x="52" y="96"/>
                      <a:pt x="52" y="96"/>
                      <a:pt x="52" y="96"/>
                    </a:cubicBezTo>
                    <a:cubicBezTo>
                      <a:pt x="54" y="96"/>
                      <a:pt x="55" y="94"/>
                      <a:pt x="55" y="92"/>
                    </a:cubicBezTo>
                    <a:cubicBezTo>
                      <a:pt x="55" y="88"/>
                      <a:pt x="55" y="88"/>
                      <a:pt x="55" y="88"/>
                    </a:cubicBezTo>
                    <a:cubicBezTo>
                      <a:pt x="55" y="86"/>
                      <a:pt x="57" y="84"/>
                      <a:pt x="59" y="83"/>
                    </a:cubicBezTo>
                    <a:cubicBezTo>
                      <a:pt x="65" y="81"/>
                      <a:pt x="65" y="81"/>
                      <a:pt x="65" y="81"/>
                    </a:cubicBezTo>
                    <a:cubicBezTo>
                      <a:pt x="67" y="80"/>
                      <a:pt x="70" y="80"/>
                      <a:pt x="71" y="81"/>
                    </a:cubicBezTo>
                    <a:cubicBezTo>
                      <a:pt x="74" y="85"/>
                      <a:pt x="74" y="85"/>
                      <a:pt x="74" y="85"/>
                    </a:cubicBezTo>
                    <a:cubicBezTo>
                      <a:pt x="76" y="86"/>
                      <a:pt x="78" y="86"/>
                      <a:pt x="79" y="85"/>
                    </a:cubicBezTo>
                    <a:cubicBezTo>
                      <a:pt x="85" y="79"/>
                      <a:pt x="85" y="79"/>
                      <a:pt x="85" y="79"/>
                    </a:cubicBezTo>
                    <a:cubicBezTo>
                      <a:pt x="86" y="78"/>
                      <a:pt x="86" y="76"/>
                      <a:pt x="85" y="74"/>
                    </a:cubicBezTo>
                    <a:cubicBezTo>
                      <a:pt x="81" y="71"/>
                      <a:pt x="81" y="71"/>
                      <a:pt x="81" y="71"/>
                    </a:cubicBezTo>
                    <a:cubicBezTo>
                      <a:pt x="80" y="70"/>
                      <a:pt x="80" y="67"/>
                      <a:pt x="81" y="65"/>
                    </a:cubicBezTo>
                    <a:cubicBezTo>
                      <a:pt x="83" y="59"/>
                      <a:pt x="83" y="59"/>
                      <a:pt x="83" y="59"/>
                    </a:cubicBezTo>
                    <a:cubicBezTo>
                      <a:pt x="84" y="57"/>
                      <a:pt x="86" y="55"/>
                      <a:pt x="88" y="55"/>
                    </a:cubicBezTo>
                    <a:cubicBezTo>
                      <a:pt x="92" y="55"/>
                      <a:pt x="92" y="55"/>
                      <a:pt x="92" y="55"/>
                    </a:cubicBezTo>
                    <a:cubicBezTo>
                      <a:pt x="94" y="55"/>
                      <a:pt x="96" y="54"/>
                      <a:pt x="96" y="52"/>
                    </a:cubicBezTo>
                    <a:cubicBezTo>
                      <a:pt x="96" y="44"/>
                      <a:pt x="96" y="44"/>
                      <a:pt x="96" y="44"/>
                    </a:cubicBezTo>
                    <a:cubicBezTo>
                      <a:pt x="96" y="42"/>
                      <a:pt x="94" y="41"/>
                      <a:pt x="92" y="41"/>
                    </a:cubicBezTo>
                    <a:close/>
                    <a:moveTo>
                      <a:pt x="66" y="48"/>
                    </a:moveTo>
                    <a:cubicBezTo>
                      <a:pt x="66" y="58"/>
                      <a:pt x="58" y="66"/>
                      <a:pt x="48" y="66"/>
                    </a:cubicBezTo>
                    <a:cubicBezTo>
                      <a:pt x="38" y="66"/>
                      <a:pt x="30" y="58"/>
                      <a:pt x="30" y="48"/>
                    </a:cubicBezTo>
                    <a:cubicBezTo>
                      <a:pt x="30" y="38"/>
                      <a:pt x="38" y="30"/>
                      <a:pt x="48" y="30"/>
                    </a:cubicBezTo>
                    <a:cubicBezTo>
                      <a:pt x="58" y="30"/>
                      <a:pt x="66" y="38"/>
                      <a:pt x="66" y="48"/>
                    </a:cubicBezTo>
                    <a:close/>
                  </a:path>
                </a:pathLst>
              </a:custGeom>
              <a:solidFill>
                <a:srgbClr val="2F9C4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0" name="Freeform 45">
                <a:extLst>
                  <a:ext uri="{FF2B5EF4-FFF2-40B4-BE49-F238E27FC236}">
                    <a16:creationId xmlns:a16="http://schemas.microsoft.com/office/drawing/2014/main" xmlns="" id="{2167CDAE-27D2-4E8B-82F6-049BBD585B1F}"/>
                  </a:ext>
                </a:extLst>
              </p:cNvPr>
              <p:cNvSpPr>
                <a:spLocks noEditPoints="1"/>
              </p:cNvSpPr>
              <p:nvPr/>
            </p:nvSpPr>
            <p:spPr bwMode="auto">
              <a:xfrm rot="20790721">
                <a:off x="1992482" y="2191553"/>
                <a:ext cx="47569" cy="47322"/>
              </a:xfrm>
              <a:custGeom>
                <a:avLst/>
                <a:gdLst/>
                <a:ahLst/>
                <a:cxnLst>
                  <a:cxn ang="0">
                    <a:pos x="88" y="41"/>
                  </a:cxn>
                  <a:cxn ang="0">
                    <a:pos x="81" y="31"/>
                  </a:cxn>
                  <a:cxn ang="0">
                    <a:pos x="85" y="22"/>
                  </a:cxn>
                  <a:cxn ang="0">
                    <a:pos x="79" y="11"/>
                  </a:cxn>
                  <a:cxn ang="0">
                    <a:pos x="71" y="15"/>
                  </a:cxn>
                  <a:cxn ang="0">
                    <a:pos x="59" y="13"/>
                  </a:cxn>
                  <a:cxn ang="0">
                    <a:pos x="55" y="4"/>
                  </a:cxn>
                  <a:cxn ang="0">
                    <a:pos x="44" y="0"/>
                  </a:cxn>
                  <a:cxn ang="0">
                    <a:pos x="41" y="8"/>
                  </a:cxn>
                  <a:cxn ang="0">
                    <a:pos x="31" y="15"/>
                  </a:cxn>
                  <a:cxn ang="0">
                    <a:pos x="22" y="11"/>
                  </a:cxn>
                  <a:cxn ang="0">
                    <a:pos x="11" y="17"/>
                  </a:cxn>
                  <a:cxn ang="0">
                    <a:pos x="15" y="25"/>
                  </a:cxn>
                  <a:cxn ang="0">
                    <a:pos x="13" y="37"/>
                  </a:cxn>
                  <a:cxn ang="0">
                    <a:pos x="4" y="41"/>
                  </a:cxn>
                  <a:cxn ang="0">
                    <a:pos x="0" y="52"/>
                  </a:cxn>
                  <a:cxn ang="0">
                    <a:pos x="8" y="55"/>
                  </a:cxn>
                  <a:cxn ang="0">
                    <a:pos x="15" y="65"/>
                  </a:cxn>
                  <a:cxn ang="0">
                    <a:pos x="11" y="74"/>
                  </a:cxn>
                  <a:cxn ang="0">
                    <a:pos x="17" y="85"/>
                  </a:cxn>
                  <a:cxn ang="0">
                    <a:pos x="25" y="81"/>
                  </a:cxn>
                  <a:cxn ang="0">
                    <a:pos x="37" y="83"/>
                  </a:cxn>
                  <a:cxn ang="0">
                    <a:pos x="41" y="92"/>
                  </a:cxn>
                  <a:cxn ang="0">
                    <a:pos x="52" y="96"/>
                  </a:cxn>
                  <a:cxn ang="0">
                    <a:pos x="55" y="88"/>
                  </a:cxn>
                  <a:cxn ang="0">
                    <a:pos x="65" y="81"/>
                  </a:cxn>
                  <a:cxn ang="0">
                    <a:pos x="74" y="85"/>
                  </a:cxn>
                  <a:cxn ang="0">
                    <a:pos x="85" y="79"/>
                  </a:cxn>
                  <a:cxn ang="0">
                    <a:pos x="81" y="71"/>
                  </a:cxn>
                  <a:cxn ang="0">
                    <a:pos x="83" y="59"/>
                  </a:cxn>
                  <a:cxn ang="0">
                    <a:pos x="92" y="55"/>
                  </a:cxn>
                  <a:cxn ang="0">
                    <a:pos x="96" y="44"/>
                  </a:cxn>
                  <a:cxn ang="0">
                    <a:pos x="66" y="48"/>
                  </a:cxn>
                  <a:cxn ang="0">
                    <a:pos x="30" y="48"/>
                  </a:cxn>
                  <a:cxn ang="0">
                    <a:pos x="66" y="48"/>
                  </a:cxn>
                </a:cxnLst>
                <a:rect l="0" t="0" r="r" b="b"/>
                <a:pathLst>
                  <a:path w="96" h="96">
                    <a:moveTo>
                      <a:pt x="92" y="41"/>
                    </a:moveTo>
                    <a:cubicBezTo>
                      <a:pt x="88" y="41"/>
                      <a:pt x="88" y="41"/>
                      <a:pt x="88" y="41"/>
                    </a:cubicBezTo>
                    <a:cubicBezTo>
                      <a:pt x="86" y="41"/>
                      <a:pt x="84" y="39"/>
                      <a:pt x="83" y="37"/>
                    </a:cubicBezTo>
                    <a:cubicBezTo>
                      <a:pt x="81" y="31"/>
                      <a:pt x="81" y="31"/>
                      <a:pt x="81" y="31"/>
                    </a:cubicBezTo>
                    <a:cubicBezTo>
                      <a:pt x="80" y="29"/>
                      <a:pt x="80" y="26"/>
                      <a:pt x="81" y="25"/>
                    </a:cubicBezTo>
                    <a:cubicBezTo>
                      <a:pt x="85" y="22"/>
                      <a:pt x="85" y="22"/>
                      <a:pt x="85" y="22"/>
                    </a:cubicBezTo>
                    <a:cubicBezTo>
                      <a:pt x="86" y="20"/>
                      <a:pt x="86" y="18"/>
                      <a:pt x="85" y="17"/>
                    </a:cubicBezTo>
                    <a:cubicBezTo>
                      <a:pt x="79" y="11"/>
                      <a:pt x="79" y="11"/>
                      <a:pt x="79" y="11"/>
                    </a:cubicBezTo>
                    <a:cubicBezTo>
                      <a:pt x="78" y="10"/>
                      <a:pt x="76" y="10"/>
                      <a:pt x="74" y="11"/>
                    </a:cubicBezTo>
                    <a:cubicBezTo>
                      <a:pt x="71" y="15"/>
                      <a:pt x="71" y="15"/>
                      <a:pt x="71" y="15"/>
                    </a:cubicBezTo>
                    <a:cubicBezTo>
                      <a:pt x="70" y="16"/>
                      <a:pt x="67" y="16"/>
                      <a:pt x="65" y="15"/>
                    </a:cubicBezTo>
                    <a:cubicBezTo>
                      <a:pt x="59" y="13"/>
                      <a:pt x="59" y="13"/>
                      <a:pt x="59" y="13"/>
                    </a:cubicBezTo>
                    <a:cubicBezTo>
                      <a:pt x="57" y="12"/>
                      <a:pt x="55" y="10"/>
                      <a:pt x="55" y="8"/>
                    </a:cubicBezTo>
                    <a:cubicBezTo>
                      <a:pt x="55" y="4"/>
                      <a:pt x="55" y="4"/>
                      <a:pt x="55" y="4"/>
                    </a:cubicBezTo>
                    <a:cubicBezTo>
                      <a:pt x="55" y="2"/>
                      <a:pt x="54" y="0"/>
                      <a:pt x="52" y="0"/>
                    </a:cubicBezTo>
                    <a:cubicBezTo>
                      <a:pt x="44" y="0"/>
                      <a:pt x="44" y="0"/>
                      <a:pt x="44" y="0"/>
                    </a:cubicBezTo>
                    <a:cubicBezTo>
                      <a:pt x="42" y="0"/>
                      <a:pt x="41" y="2"/>
                      <a:pt x="41" y="4"/>
                    </a:cubicBezTo>
                    <a:cubicBezTo>
                      <a:pt x="41" y="8"/>
                      <a:pt x="41" y="8"/>
                      <a:pt x="41" y="8"/>
                    </a:cubicBezTo>
                    <a:cubicBezTo>
                      <a:pt x="41" y="10"/>
                      <a:pt x="39" y="12"/>
                      <a:pt x="37" y="13"/>
                    </a:cubicBezTo>
                    <a:cubicBezTo>
                      <a:pt x="31" y="15"/>
                      <a:pt x="31" y="15"/>
                      <a:pt x="31" y="15"/>
                    </a:cubicBezTo>
                    <a:cubicBezTo>
                      <a:pt x="29" y="16"/>
                      <a:pt x="26" y="16"/>
                      <a:pt x="25" y="15"/>
                    </a:cubicBezTo>
                    <a:cubicBezTo>
                      <a:pt x="22" y="11"/>
                      <a:pt x="22" y="11"/>
                      <a:pt x="22" y="11"/>
                    </a:cubicBezTo>
                    <a:cubicBezTo>
                      <a:pt x="20" y="10"/>
                      <a:pt x="18" y="10"/>
                      <a:pt x="17" y="11"/>
                    </a:cubicBezTo>
                    <a:cubicBezTo>
                      <a:pt x="11" y="17"/>
                      <a:pt x="11" y="17"/>
                      <a:pt x="11" y="17"/>
                    </a:cubicBezTo>
                    <a:cubicBezTo>
                      <a:pt x="10" y="18"/>
                      <a:pt x="10" y="20"/>
                      <a:pt x="11" y="22"/>
                    </a:cubicBezTo>
                    <a:cubicBezTo>
                      <a:pt x="15" y="25"/>
                      <a:pt x="15" y="25"/>
                      <a:pt x="15" y="25"/>
                    </a:cubicBezTo>
                    <a:cubicBezTo>
                      <a:pt x="16" y="26"/>
                      <a:pt x="16" y="29"/>
                      <a:pt x="15" y="31"/>
                    </a:cubicBezTo>
                    <a:cubicBezTo>
                      <a:pt x="13" y="37"/>
                      <a:pt x="13" y="37"/>
                      <a:pt x="13" y="37"/>
                    </a:cubicBezTo>
                    <a:cubicBezTo>
                      <a:pt x="12" y="39"/>
                      <a:pt x="10" y="41"/>
                      <a:pt x="8" y="41"/>
                    </a:cubicBezTo>
                    <a:cubicBezTo>
                      <a:pt x="4" y="41"/>
                      <a:pt x="4" y="41"/>
                      <a:pt x="4" y="41"/>
                    </a:cubicBezTo>
                    <a:cubicBezTo>
                      <a:pt x="2" y="41"/>
                      <a:pt x="0" y="42"/>
                      <a:pt x="0" y="44"/>
                    </a:cubicBezTo>
                    <a:cubicBezTo>
                      <a:pt x="0" y="52"/>
                      <a:pt x="0" y="52"/>
                      <a:pt x="0" y="52"/>
                    </a:cubicBezTo>
                    <a:cubicBezTo>
                      <a:pt x="0" y="54"/>
                      <a:pt x="2" y="55"/>
                      <a:pt x="4" y="55"/>
                    </a:cubicBezTo>
                    <a:cubicBezTo>
                      <a:pt x="8" y="55"/>
                      <a:pt x="8" y="55"/>
                      <a:pt x="8" y="55"/>
                    </a:cubicBezTo>
                    <a:cubicBezTo>
                      <a:pt x="10" y="55"/>
                      <a:pt x="12" y="57"/>
                      <a:pt x="13" y="59"/>
                    </a:cubicBezTo>
                    <a:cubicBezTo>
                      <a:pt x="15" y="65"/>
                      <a:pt x="15" y="65"/>
                      <a:pt x="15" y="65"/>
                    </a:cubicBezTo>
                    <a:cubicBezTo>
                      <a:pt x="16" y="67"/>
                      <a:pt x="16" y="70"/>
                      <a:pt x="15" y="71"/>
                    </a:cubicBezTo>
                    <a:cubicBezTo>
                      <a:pt x="11" y="74"/>
                      <a:pt x="11" y="74"/>
                      <a:pt x="11" y="74"/>
                    </a:cubicBezTo>
                    <a:cubicBezTo>
                      <a:pt x="10" y="76"/>
                      <a:pt x="10" y="78"/>
                      <a:pt x="11" y="79"/>
                    </a:cubicBezTo>
                    <a:cubicBezTo>
                      <a:pt x="17" y="85"/>
                      <a:pt x="17" y="85"/>
                      <a:pt x="17" y="85"/>
                    </a:cubicBezTo>
                    <a:cubicBezTo>
                      <a:pt x="18" y="86"/>
                      <a:pt x="20" y="86"/>
                      <a:pt x="22" y="85"/>
                    </a:cubicBezTo>
                    <a:cubicBezTo>
                      <a:pt x="25" y="81"/>
                      <a:pt x="25" y="81"/>
                      <a:pt x="25" y="81"/>
                    </a:cubicBezTo>
                    <a:cubicBezTo>
                      <a:pt x="26" y="80"/>
                      <a:pt x="29" y="80"/>
                      <a:pt x="31" y="81"/>
                    </a:cubicBezTo>
                    <a:cubicBezTo>
                      <a:pt x="37" y="83"/>
                      <a:pt x="37" y="83"/>
                      <a:pt x="37" y="83"/>
                    </a:cubicBezTo>
                    <a:cubicBezTo>
                      <a:pt x="39" y="84"/>
                      <a:pt x="41" y="86"/>
                      <a:pt x="41" y="88"/>
                    </a:cubicBezTo>
                    <a:cubicBezTo>
                      <a:pt x="41" y="92"/>
                      <a:pt x="41" y="92"/>
                      <a:pt x="41" y="92"/>
                    </a:cubicBezTo>
                    <a:cubicBezTo>
                      <a:pt x="41" y="94"/>
                      <a:pt x="42" y="96"/>
                      <a:pt x="44" y="96"/>
                    </a:cubicBezTo>
                    <a:cubicBezTo>
                      <a:pt x="52" y="96"/>
                      <a:pt x="52" y="96"/>
                      <a:pt x="52" y="96"/>
                    </a:cubicBezTo>
                    <a:cubicBezTo>
                      <a:pt x="54" y="96"/>
                      <a:pt x="55" y="94"/>
                      <a:pt x="55" y="92"/>
                    </a:cubicBezTo>
                    <a:cubicBezTo>
                      <a:pt x="55" y="88"/>
                      <a:pt x="55" y="88"/>
                      <a:pt x="55" y="88"/>
                    </a:cubicBezTo>
                    <a:cubicBezTo>
                      <a:pt x="55" y="86"/>
                      <a:pt x="57" y="84"/>
                      <a:pt x="59" y="83"/>
                    </a:cubicBezTo>
                    <a:cubicBezTo>
                      <a:pt x="65" y="81"/>
                      <a:pt x="65" y="81"/>
                      <a:pt x="65" y="81"/>
                    </a:cubicBezTo>
                    <a:cubicBezTo>
                      <a:pt x="67" y="80"/>
                      <a:pt x="70" y="80"/>
                      <a:pt x="71" y="81"/>
                    </a:cubicBezTo>
                    <a:cubicBezTo>
                      <a:pt x="74" y="85"/>
                      <a:pt x="74" y="85"/>
                      <a:pt x="74" y="85"/>
                    </a:cubicBezTo>
                    <a:cubicBezTo>
                      <a:pt x="76" y="86"/>
                      <a:pt x="78" y="86"/>
                      <a:pt x="79" y="85"/>
                    </a:cubicBezTo>
                    <a:cubicBezTo>
                      <a:pt x="85" y="79"/>
                      <a:pt x="85" y="79"/>
                      <a:pt x="85" y="79"/>
                    </a:cubicBezTo>
                    <a:cubicBezTo>
                      <a:pt x="86" y="78"/>
                      <a:pt x="86" y="76"/>
                      <a:pt x="85" y="74"/>
                    </a:cubicBezTo>
                    <a:cubicBezTo>
                      <a:pt x="81" y="71"/>
                      <a:pt x="81" y="71"/>
                      <a:pt x="81" y="71"/>
                    </a:cubicBezTo>
                    <a:cubicBezTo>
                      <a:pt x="80" y="70"/>
                      <a:pt x="80" y="67"/>
                      <a:pt x="81" y="65"/>
                    </a:cubicBezTo>
                    <a:cubicBezTo>
                      <a:pt x="83" y="59"/>
                      <a:pt x="83" y="59"/>
                      <a:pt x="83" y="59"/>
                    </a:cubicBezTo>
                    <a:cubicBezTo>
                      <a:pt x="84" y="57"/>
                      <a:pt x="86" y="55"/>
                      <a:pt x="88" y="55"/>
                    </a:cubicBezTo>
                    <a:cubicBezTo>
                      <a:pt x="92" y="55"/>
                      <a:pt x="92" y="55"/>
                      <a:pt x="92" y="55"/>
                    </a:cubicBezTo>
                    <a:cubicBezTo>
                      <a:pt x="94" y="55"/>
                      <a:pt x="96" y="54"/>
                      <a:pt x="96" y="52"/>
                    </a:cubicBezTo>
                    <a:cubicBezTo>
                      <a:pt x="96" y="44"/>
                      <a:pt x="96" y="44"/>
                      <a:pt x="96" y="44"/>
                    </a:cubicBezTo>
                    <a:cubicBezTo>
                      <a:pt x="96" y="42"/>
                      <a:pt x="94" y="41"/>
                      <a:pt x="92" y="41"/>
                    </a:cubicBezTo>
                    <a:close/>
                    <a:moveTo>
                      <a:pt x="66" y="48"/>
                    </a:moveTo>
                    <a:cubicBezTo>
                      <a:pt x="66" y="58"/>
                      <a:pt x="58" y="66"/>
                      <a:pt x="48" y="66"/>
                    </a:cubicBezTo>
                    <a:cubicBezTo>
                      <a:pt x="38" y="66"/>
                      <a:pt x="30" y="58"/>
                      <a:pt x="30" y="48"/>
                    </a:cubicBezTo>
                    <a:cubicBezTo>
                      <a:pt x="30" y="38"/>
                      <a:pt x="38" y="30"/>
                      <a:pt x="48" y="30"/>
                    </a:cubicBezTo>
                    <a:cubicBezTo>
                      <a:pt x="58" y="30"/>
                      <a:pt x="66" y="38"/>
                      <a:pt x="66" y="48"/>
                    </a:cubicBezTo>
                    <a:close/>
                  </a:path>
                </a:pathLst>
              </a:custGeom>
              <a:solidFill>
                <a:srgbClr val="2F9C40"/>
              </a:solid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101" name="Group 48"/>
            <p:cNvGrpSpPr/>
            <p:nvPr/>
          </p:nvGrpSpPr>
          <p:grpSpPr>
            <a:xfrm>
              <a:off x="6772511" y="2049588"/>
              <a:ext cx="324000" cy="324000"/>
              <a:chOff x="6464441" y="2047508"/>
              <a:chExt cx="504000" cy="504000"/>
            </a:xfrm>
          </p:grpSpPr>
          <p:sp>
            <p:nvSpPr>
              <p:cNvPr id="102" name="Rectangle 18">
                <a:extLst>
                  <a:ext uri="{FF2B5EF4-FFF2-40B4-BE49-F238E27FC236}">
                    <a16:creationId xmlns:a16="http://schemas.microsoft.com/office/drawing/2014/main" xmlns="" id="{233BF2C5-CE64-4AF3-B920-D6D4CA5BA6E8}"/>
                  </a:ext>
                </a:extLst>
              </p:cNvPr>
              <p:cNvSpPr/>
              <p:nvPr>
                <p:custDataLst>
                  <p:tags r:id="rId4"/>
                </p:custDataLst>
              </p:nvPr>
            </p:nvSpPr>
            <p:spPr bwMode="auto">
              <a:xfrm>
                <a:off x="6464441" y="2047508"/>
                <a:ext cx="504000" cy="504000"/>
              </a:xfrm>
              <a:prstGeom prst="ellipse">
                <a:avLst/>
              </a:prstGeom>
              <a:solidFill>
                <a:srgbClr val="9F428F"/>
              </a:solidFill>
              <a:ln w="28575" algn="ctr">
                <a:solidFill>
                  <a:schemeClr val="bg1"/>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103" name="Freeform 6">
                <a:extLst>
                  <a:ext uri="{FF2B5EF4-FFF2-40B4-BE49-F238E27FC236}">
                    <a16:creationId xmlns:a16="http://schemas.microsoft.com/office/drawing/2014/main" xmlns="" id="{A92A1347-B0A9-4C1D-8E31-DA4BF1096D9C}"/>
                  </a:ext>
                </a:extLst>
              </p:cNvPr>
              <p:cNvSpPr>
                <a:spLocks/>
              </p:cNvSpPr>
              <p:nvPr/>
            </p:nvSpPr>
            <p:spPr bwMode="auto">
              <a:xfrm>
                <a:off x="6535181" y="2264267"/>
                <a:ext cx="168845" cy="158581"/>
              </a:xfrm>
              <a:custGeom>
                <a:avLst/>
                <a:gdLst/>
                <a:ahLst/>
                <a:cxnLst>
                  <a:cxn ang="0">
                    <a:pos x="188" y="203"/>
                  </a:cxn>
                  <a:cxn ang="0">
                    <a:pos x="87" y="124"/>
                  </a:cxn>
                  <a:cxn ang="0">
                    <a:pos x="76" y="158"/>
                  </a:cxn>
                  <a:cxn ang="0">
                    <a:pos x="0" y="54"/>
                  </a:cxn>
                  <a:cxn ang="0">
                    <a:pos x="116" y="0"/>
                  </a:cxn>
                  <a:cxn ang="0">
                    <a:pos x="109" y="35"/>
                  </a:cxn>
                  <a:cxn ang="0">
                    <a:pos x="216" y="105"/>
                  </a:cxn>
                  <a:cxn ang="0">
                    <a:pos x="188" y="203"/>
                  </a:cxn>
                </a:cxnLst>
                <a:rect l="0" t="0" r="r" b="b"/>
                <a:pathLst>
                  <a:path w="216" h="203">
                    <a:moveTo>
                      <a:pt x="188" y="203"/>
                    </a:moveTo>
                    <a:cubicBezTo>
                      <a:pt x="188" y="203"/>
                      <a:pt x="149" y="132"/>
                      <a:pt x="87" y="124"/>
                    </a:cubicBezTo>
                    <a:cubicBezTo>
                      <a:pt x="76" y="158"/>
                      <a:pt x="76" y="158"/>
                      <a:pt x="76" y="158"/>
                    </a:cubicBezTo>
                    <a:cubicBezTo>
                      <a:pt x="0" y="54"/>
                      <a:pt x="0" y="54"/>
                      <a:pt x="0" y="54"/>
                    </a:cubicBezTo>
                    <a:cubicBezTo>
                      <a:pt x="116" y="0"/>
                      <a:pt x="116" y="0"/>
                      <a:pt x="116" y="0"/>
                    </a:cubicBezTo>
                    <a:cubicBezTo>
                      <a:pt x="109" y="35"/>
                      <a:pt x="109" y="35"/>
                      <a:pt x="109" y="35"/>
                    </a:cubicBezTo>
                    <a:cubicBezTo>
                      <a:pt x="109" y="35"/>
                      <a:pt x="200" y="73"/>
                      <a:pt x="216" y="105"/>
                    </a:cubicBezTo>
                    <a:cubicBezTo>
                      <a:pt x="210" y="122"/>
                      <a:pt x="190" y="172"/>
                      <a:pt x="188" y="20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7">
                <a:extLst>
                  <a:ext uri="{FF2B5EF4-FFF2-40B4-BE49-F238E27FC236}">
                    <a16:creationId xmlns:a16="http://schemas.microsoft.com/office/drawing/2014/main" xmlns="" id="{A394DD2F-DDCA-44E9-8F99-6E4E8DF5C4E0}"/>
                  </a:ext>
                </a:extLst>
              </p:cNvPr>
              <p:cNvSpPr>
                <a:spLocks/>
              </p:cNvSpPr>
              <p:nvPr/>
            </p:nvSpPr>
            <p:spPr bwMode="auto">
              <a:xfrm>
                <a:off x="6628211" y="2147400"/>
                <a:ext cx="126468" cy="188709"/>
              </a:xfrm>
              <a:custGeom>
                <a:avLst/>
                <a:gdLst/>
                <a:ahLst/>
                <a:cxnLst>
                  <a:cxn ang="0">
                    <a:pos x="102" y="241"/>
                  </a:cxn>
                  <a:cxn ang="0">
                    <a:pos x="56" y="208"/>
                  </a:cxn>
                  <a:cxn ang="0">
                    <a:pos x="42" y="112"/>
                  </a:cxn>
                  <a:cxn ang="0">
                    <a:pos x="0" y="119"/>
                  </a:cxn>
                  <a:cxn ang="0">
                    <a:pos x="66" y="0"/>
                  </a:cxn>
                  <a:cxn ang="0">
                    <a:pos x="162" y="89"/>
                  </a:cxn>
                  <a:cxn ang="0">
                    <a:pos x="125" y="95"/>
                  </a:cxn>
                  <a:cxn ang="0">
                    <a:pos x="140" y="196"/>
                  </a:cxn>
                  <a:cxn ang="0">
                    <a:pos x="102" y="241"/>
                  </a:cxn>
                </a:cxnLst>
                <a:rect l="0" t="0" r="r" b="b"/>
                <a:pathLst>
                  <a:path w="162" h="241">
                    <a:moveTo>
                      <a:pt x="102" y="241"/>
                    </a:moveTo>
                    <a:cubicBezTo>
                      <a:pt x="56" y="208"/>
                      <a:pt x="56" y="208"/>
                      <a:pt x="56" y="208"/>
                    </a:cubicBezTo>
                    <a:cubicBezTo>
                      <a:pt x="42" y="112"/>
                      <a:pt x="42" y="112"/>
                      <a:pt x="42" y="112"/>
                    </a:cubicBezTo>
                    <a:cubicBezTo>
                      <a:pt x="0" y="119"/>
                      <a:pt x="0" y="119"/>
                      <a:pt x="0" y="119"/>
                    </a:cubicBezTo>
                    <a:cubicBezTo>
                      <a:pt x="66" y="0"/>
                      <a:pt x="66" y="0"/>
                      <a:pt x="66" y="0"/>
                    </a:cubicBezTo>
                    <a:cubicBezTo>
                      <a:pt x="162" y="89"/>
                      <a:pt x="162" y="89"/>
                      <a:pt x="162" y="89"/>
                    </a:cubicBezTo>
                    <a:cubicBezTo>
                      <a:pt x="125" y="95"/>
                      <a:pt x="125" y="95"/>
                      <a:pt x="125" y="95"/>
                    </a:cubicBezTo>
                    <a:cubicBezTo>
                      <a:pt x="140" y="196"/>
                      <a:pt x="140" y="196"/>
                      <a:pt x="140" y="196"/>
                    </a:cubicBezTo>
                    <a:cubicBezTo>
                      <a:pt x="140" y="196"/>
                      <a:pt x="110" y="227"/>
                      <a:pt x="102" y="2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a16="http://schemas.microsoft.com/office/drawing/2014/main" xmlns="" id="{DCB29400-6B57-4A91-8707-99A78FC5DDFD}"/>
                  </a:ext>
                </a:extLst>
              </p:cNvPr>
              <p:cNvSpPr>
                <a:spLocks/>
              </p:cNvSpPr>
              <p:nvPr/>
            </p:nvSpPr>
            <p:spPr bwMode="auto">
              <a:xfrm>
                <a:off x="6689128" y="2223545"/>
                <a:ext cx="208573" cy="203276"/>
              </a:xfrm>
              <a:custGeom>
                <a:avLst/>
                <a:gdLst/>
                <a:ahLst/>
                <a:cxnLst>
                  <a:cxn ang="0">
                    <a:pos x="142" y="0"/>
                  </a:cxn>
                  <a:cxn ang="0">
                    <a:pos x="157" y="37"/>
                  </a:cxn>
                  <a:cxn ang="0">
                    <a:pos x="0" y="260"/>
                  </a:cxn>
                  <a:cxn ang="0">
                    <a:pos x="86" y="260"/>
                  </a:cxn>
                  <a:cxn ang="0">
                    <a:pos x="187" y="116"/>
                  </a:cxn>
                  <a:cxn ang="0">
                    <a:pos x="207" y="153"/>
                  </a:cxn>
                  <a:cxn ang="0">
                    <a:pos x="267" y="36"/>
                  </a:cxn>
                  <a:cxn ang="0">
                    <a:pos x="142" y="0"/>
                  </a:cxn>
                </a:cxnLst>
                <a:rect l="0" t="0" r="r" b="b"/>
                <a:pathLst>
                  <a:path w="267" h="260">
                    <a:moveTo>
                      <a:pt x="142" y="0"/>
                    </a:moveTo>
                    <a:cubicBezTo>
                      <a:pt x="142" y="0"/>
                      <a:pt x="142" y="0"/>
                      <a:pt x="157" y="37"/>
                    </a:cubicBezTo>
                    <a:cubicBezTo>
                      <a:pt x="45" y="86"/>
                      <a:pt x="11" y="193"/>
                      <a:pt x="0" y="260"/>
                    </a:cubicBezTo>
                    <a:cubicBezTo>
                      <a:pt x="86" y="260"/>
                      <a:pt x="86" y="260"/>
                      <a:pt x="86" y="260"/>
                    </a:cubicBezTo>
                    <a:cubicBezTo>
                      <a:pt x="108" y="143"/>
                      <a:pt x="187" y="116"/>
                      <a:pt x="187" y="116"/>
                    </a:cubicBezTo>
                    <a:cubicBezTo>
                      <a:pt x="207" y="153"/>
                      <a:pt x="207" y="153"/>
                      <a:pt x="207" y="153"/>
                    </a:cubicBezTo>
                    <a:cubicBezTo>
                      <a:pt x="267" y="36"/>
                      <a:pt x="267" y="36"/>
                      <a:pt x="267" y="36"/>
                    </a:cubicBezTo>
                    <a:lnTo>
                      <a:pt x="142"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6" name="Group 57"/>
            <p:cNvGrpSpPr/>
            <p:nvPr/>
          </p:nvGrpSpPr>
          <p:grpSpPr>
            <a:xfrm>
              <a:off x="4423870" y="2049588"/>
              <a:ext cx="324000" cy="324000"/>
              <a:chOff x="4126336" y="2047508"/>
              <a:chExt cx="504000" cy="504000"/>
            </a:xfrm>
          </p:grpSpPr>
          <p:sp>
            <p:nvSpPr>
              <p:cNvPr id="107" name="Rectangle 18">
                <a:extLst>
                  <a:ext uri="{FF2B5EF4-FFF2-40B4-BE49-F238E27FC236}">
                    <a16:creationId xmlns:a16="http://schemas.microsoft.com/office/drawing/2014/main" xmlns="" id="{6CB1ECBE-BD0B-44EB-9F68-FD7417E00555}"/>
                  </a:ext>
                </a:extLst>
              </p:cNvPr>
              <p:cNvSpPr/>
              <p:nvPr>
                <p:custDataLst>
                  <p:tags r:id="rId3"/>
                </p:custDataLst>
              </p:nvPr>
            </p:nvSpPr>
            <p:spPr bwMode="auto">
              <a:xfrm>
                <a:off x="4126336" y="2047508"/>
                <a:ext cx="504000" cy="504000"/>
              </a:xfrm>
              <a:prstGeom prst="ellipse">
                <a:avLst/>
              </a:prstGeom>
              <a:solidFill>
                <a:srgbClr val="1D7CBA"/>
              </a:solidFill>
              <a:ln w="28575" algn="ctr">
                <a:solidFill>
                  <a:schemeClr val="bg1"/>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108" name="Freeform 8">
                <a:extLst>
                  <a:ext uri="{FF2B5EF4-FFF2-40B4-BE49-F238E27FC236}">
                    <a16:creationId xmlns:a16="http://schemas.microsoft.com/office/drawing/2014/main" xmlns="" id="{448BD27B-28B2-47FE-80FF-1775651A4B11}"/>
                  </a:ext>
                </a:extLst>
              </p:cNvPr>
              <p:cNvSpPr>
                <a:spLocks/>
              </p:cNvSpPr>
              <p:nvPr/>
            </p:nvSpPr>
            <p:spPr bwMode="auto">
              <a:xfrm>
                <a:off x="4337751" y="2155541"/>
                <a:ext cx="79525" cy="51611"/>
              </a:xfrm>
              <a:custGeom>
                <a:avLst/>
                <a:gdLst>
                  <a:gd name="T0" fmla="*/ 48 w 137"/>
                  <a:gd name="T1" fmla="*/ 10 h 90"/>
                  <a:gd name="T2" fmla="*/ 107 w 137"/>
                  <a:gd name="T3" fmla="*/ 21 h 90"/>
                  <a:gd name="T4" fmla="*/ 137 w 137"/>
                  <a:gd name="T5" fmla="*/ 73 h 90"/>
                  <a:gd name="T6" fmla="*/ 105 w 137"/>
                  <a:gd name="T7" fmla="*/ 88 h 90"/>
                  <a:gd name="T8" fmla="*/ 69 w 137"/>
                  <a:gd name="T9" fmla="*/ 41 h 90"/>
                  <a:gd name="T10" fmla="*/ 34 w 137"/>
                  <a:gd name="T11" fmla="*/ 90 h 90"/>
                  <a:gd name="T12" fmla="*/ 0 w 137"/>
                  <a:gd name="T13" fmla="*/ 75 h 90"/>
                  <a:gd name="T14" fmla="*/ 48 w 137"/>
                  <a:gd name="T15" fmla="*/ 10 h 9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7" h="90">
                    <a:moveTo>
                      <a:pt x="48" y="10"/>
                    </a:moveTo>
                    <a:cubicBezTo>
                      <a:pt x="67" y="0"/>
                      <a:pt x="92" y="6"/>
                      <a:pt x="107" y="21"/>
                    </a:cubicBezTo>
                    <a:cubicBezTo>
                      <a:pt x="121" y="36"/>
                      <a:pt x="132" y="54"/>
                      <a:pt x="137" y="73"/>
                    </a:cubicBezTo>
                    <a:cubicBezTo>
                      <a:pt x="126" y="78"/>
                      <a:pt x="116" y="83"/>
                      <a:pt x="105" y="88"/>
                    </a:cubicBezTo>
                    <a:cubicBezTo>
                      <a:pt x="96" y="71"/>
                      <a:pt x="89" y="46"/>
                      <a:pt x="69" y="41"/>
                    </a:cubicBezTo>
                    <a:cubicBezTo>
                      <a:pt x="49" y="49"/>
                      <a:pt x="41" y="72"/>
                      <a:pt x="34" y="90"/>
                    </a:cubicBezTo>
                    <a:cubicBezTo>
                      <a:pt x="22" y="86"/>
                      <a:pt x="11" y="81"/>
                      <a:pt x="0" y="75"/>
                    </a:cubicBezTo>
                    <a:cubicBezTo>
                      <a:pt x="11" y="50"/>
                      <a:pt x="23" y="23"/>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9" name="Freeform 13">
                <a:extLst>
                  <a:ext uri="{FF2B5EF4-FFF2-40B4-BE49-F238E27FC236}">
                    <a16:creationId xmlns:a16="http://schemas.microsoft.com/office/drawing/2014/main" xmlns="" id="{23193AB9-0C97-4DFC-B08B-296689771271}"/>
                  </a:ext>
                </a:extLst>
              </p:cNvPr>
              <p:cNvSpPr>
                <a:spLocks noEditPoints="1"/>
              </p:cNvSpPr>
              <p:nvPr/>
            </p:nvSpPr>
            <p:spPr bwMode="auto">
              <a:xfrm>
                <a:off x="4241224" y="2194657"/>
                <a:ext cx="272578" cy="210246"/>
              </a:xfrm>
              <a:custGeom>
                <a:avLst/>
                <a:gdLst>
                  <a:gd name="T0" fmla="*/ 234 w 469"/>
                  <a:gd name="T1" fmla="*/ 66 h 366"/>
                  <a:gd name="T2" fmla="*/ 383 w 469"/>
                  <a:gd name="T3" fmla="*/ 5 h 366"/>
                  <a:gd name="T4" fmla="*/ 452 w 469"/>
                  <a:gd name="T5" fmla="*/ 18 h 366"/>
                  <a:gd name="T6" fmla="*/ 462 w 469"/>
                  <a:gd name="T7" fmla="*/ 75 h 366"/>
                  <a:gd name="T8" fmla="*/ 406 w 469"/>
                  <a:gd name="T9" fmla="*/ 163 h 366"/>
                  <a:gd name="T10" fmla="*/ 216 w 469"/>
                  <a:gd name="T11" fmla="*/ 312 h 366"/>
                  <a:gd name="T12" fmla="*/ 79 w 469"/>
                  <a:gd name="T13" fmla="*/ 364 h 366"/>
                  <a:gd name="T14" fmla="*/ 14 w 469"/>
                  <a:gd name="T15" fmla="*/ 344 h 366"/>
                  <a:gd name="T16" fmla="*/ 14 w 469"/>
                  <a:gd name="T17" fmla="*/ 278 h 366"/>
                  <a:gd name="T18" fmla="*/ 84 w 469"/>
                  <a:gd name="T19" fmla="*/ 184 h 366"/>
                  <a:gd name="T20" fmla="*/ 198 w 469"/>
                  <a:gd name="T21" fmla="*/ 90 h 366"/>
                  <a:gd name="T22" fmla="*/ 85 w 469"/>
                  <a:gd name="T23" fmla="*/ 46 h 366"/>
                  <a:gd name="T24" fmla="*/ 47 w 469"/>
                  <a:gd name="T25" fmla="*/ 47 h 366"/>
                  <a:gd name="T26" fmla="*/ 48 w 469"/>
                  <a:gd name="T27" fmla="*/ 78 h 366"/>
                  <a:gd name="T28" fmla="*/ 77 w 469"/>
                  <a:gd name="T29" fmla="*/ 93 h 366"/>
                  <a:gd name="T30" fmla="*/ 88 w 469"/>
                  <a:gd name="T31" fmla="*/ 152 h 366"/>
                  <a:gd name="T32" fmla="*/ 24 w 469"/>
                  <a:gd name="T33" fmla="*/ 150 h 366"/>
                  <a:gd name="T34" fmla="*/ 21 w 469"/>
                  <a:gd name="T35" fmla="*/ 107 h 366"/>
                  <a:gd name="T36" fmla="*/ 7 w 469"/>
                  <a:gd name="T37" fmla="*/ 43 h 366"/>
                  <a:gd name="T38" fmla="*/ 55 w 469"/>
                  <a:gd name="T39" fmla="*/ 8 h 366"/>
                  <a:gd name="T40" fmla="*/ 195 w 469"/>
                  <a:gd name="T41" fmla="*/ 47 h 366"/>
                  <a:gd name="T42" fmla="*/ 234 w 469"/>
                  <a:gd name="T43" fmla="*/ 66 h 366"/>
                  <a:gd name="T44" fmla="*/ 270 w 469"/>
                  <a:gd name="T45" fmla="*/ 88 h 366"/>
                  <a:gd name="T46" fmla="*/ 342 w 469"/>
                  <a:gd name="T47" fmla="*/ 143 h 366"/>
                  <a:gd name="T48" fmla="*/ 315 w 469"/>
                  <a:gd name="T49" fmla="*/ 169 h 366"/>
                  <a:gd name="T50" fmla="*/ 237 w 469"/>
                  <a:gd name="T51" fmla="*/ 113 h 366"/>
                  <a:gd name="T52" fmla="*/ 225 w 469"/>
                  <a:gd name="T53" fmla="*/ 116 h 366"/>
                  <a:gd name="T54" fmla="*/ 138 w 469"/>
                  <a:gd name="T55" fmla="*/ 183 h 366"/>
                  <a:gd name="T56" fmla="*/ 215 w 469"/>
                  <a:gd name="T57" fmla="*/ 243 h 366"/>
                  <a:gd name="T58" fmla="*/ 179 w 469"/>
                  <a:gd name="T59" fmla="*/ 263 h 366"/>
                  <a:gd name="T60" fmla="*/ 111 w 469"/>
                  <a:gd name="T61" fmla="*/ 208 h 366"/>
                  <a:gd name="T62" fmla="*/ 69 w 469"/>
                  <a:gd name="T63" fmla="*/ 257 h 366"/>
                  <a:gd name="T64" fmla="*/ 42 w 469"/>
                  <a:gd name="T65" fmla="*/ 319 h 366"/>
                  <a:gd name="T66" fmla="*/ 87 w 469"/>
                  <a:gd name="T67" fmla="*/ 325 h 366"/>
                  <a:gd name="T68" fmla="*/ 247 w 469"/>
                  <a:gd name="T69" fmla="*/ 250 h 366"/>
                  <a:gd name="T70" fmla="*/ 399 w 469"/>
                  <a:gd name="T71" fmla="*/ 115 h 366"/>
                  <a:gd name="T72" fmla="*/ 430 w 469"/>
                  <a:gd name="T73" fmla="*/ 46 h 366"/>
                  <a:gd name="T74" fmla="*/ 384 w 469"/>
                  <a:gd name="T75" fmla="*/ 42 h 366"/>
                  <a:gd name="T76" fmla="*/ 270 w 469"/>
                  <a:gd name="T77" fmla="*/ 88 h 3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69" h="366">
                    <a:moveTo>
                      <a:pt x="234" y="66"/>
                    </a:moveTo>
                    <a:cubicBezTo>
                      <a:pt x="281" y="41"/>
                      <a:pt x="329" y="14"/>
                      <a:pt x="383" y="5"/>
                    </a:cubicBezTo>
                    <a:cubicBezTo>
                      <a:pt x="406" y="2"/>
                      <a:pt x="434" y="0"/>
                      <a:pt x="452" y="18"/>
                    </a:cubicBezTo>
                    <a:cubicBezTo>
                      <a:pt x="468" y="32"/>
                      <a:pt x="469" y="56"/>
                      <a:pt x="462" y="75"/>
                    </a:cubicBezTo>
                    <a:cubicBezTo>
                      <a:pt x="452" y="109"/>
                      <a:pt x="429" y="137"/>
                      <a:pt x="406" y="163"/>
                    </a:cubicBezTo>
                    <a:cubicBezTo>
                      <a:pt x="352" y="223"/>
                      <a:pt x="287" y="272"/>
                      <a:pt x="216" y="312"/>
                    </a:cubicBezTo>
                    <a:cubicBezTo>
                      <a:pt x="173" y="335"/>
                      <a:pt x="128" y="357"/>
                      <a:pt x="79" y="364"/>
                    </a:cubicBezTo>
                    <a:cubicBezTo>
                      <a:pt x="56" y="366"/>
                      <a:pt x="29" y="364"/>
                      <a:pt x="14" y="344"/>
                    </a:cubicBezTo>
                    <a:cubicBezTo>
                      <a:pt x="0" y="324"/>
                      <a:pt x="5" y="298"/>
                      <a:pt x="14" y="278"/>
                    </a:cubicBezTo>
                    <a:cubicBezTo>
                      <a:pt x="30" y="242"/>
                      <a:pt x="57" y="212"/>
                      <a:pt x="84" y="184"/>
                    </a:cubicBezTo>
                    <a:cubicBezTo>
                      <a:pt x="119" y="149"/>
                      <a:pt x="157" y="118"/>
                      <a:pt x="198" y="90"/>
                    </a:cubicBezTo>
                    <a:cubicBezTo>
                      <a:pt x="163" y="71"/>
                      <a:pt x="125" y="54"/>
                      <a:pt x="85" y="46"/>
                    </a:cubicBezTo>
                    <a:cubicBezTo>
                      <a:pt x="72" y="44"/>
                      <a:pt x="59" y="42"/>
                      <a:pt x="47" y="47"/>
                    </a:cubicBezTo>
                    <a:cubicBezTo>
                      <a:pt x="36" y="54"/>
                      <a:pt x="44" y="69"/>
                      <a:pt x="48" y="78"/>
                    </a:cubicBezTo>
                    <a:cubicBezTo>
                      <a:pt x="51" y="92"/>
                      <a:pt x="68" y="85"/>
                      <a:pt x="77" y="93"/>
                    </a:cubicBezTo>
                    <a:cubicBezTo>
                      <a:pt x="98" y="104"/>
                      <a:pt x="103" y="134"/>
                      <a:pt x="88" y="152"/>
                    </a:cubicBezTo>
                    <a:cubicBezTo>
                      <a:pt x="73" y="172"/>
                      <a:pt x="38" y="171"/>
                      <a:pt x="24" y="150"/>
                    </a:cubicBezTo>
                    <a:cubicBezTo>
                      <a:pt x="15" y="137"/>
                      <a:pt x="16" y="121"/>
                      <a:pt x="21" y="107"/>
                    </a:cubicBezTo>
                    <a:cubicBezTo>
                      <a:pt x="11" y="87"/>
                      <a:pt x="1" y="65"/>
                      <a:pt x="7" y="43"/>
                    </a:cubicBezTo>
                    <a:cubicBezTo>
                      <a:pt x="12" y="22"/>
                      <a:pt x="34" y="8"/>
                      <a:pt x="55" y="8"/>
                    </a:cubicBezTo>
                    <a:cubicBezTo>
                      <a:pt x="104" y="5"/>
                      <a:pt x="151" y="26"/>
                      <a:pt x="195" y="47"/>
                    </a:cubicBezTo>
                    <a:cubicBezTo>
                      <a:pt x="208" y="53"/>
                      <a:pt x="220" y="63"/>
                      <a:pt x="234" y="66"/>
                    </a:cubicBezTo>
                    <a:close/>
                    <a:moveTo>
                      <a:pt x="270" y="88"/>
                    </a:moveTo>
                    <a:cubicBezTo>
                      <a:pt x="293" y="108"/>
                      <a:pt x="319" y="123"/>
                      <a:pt x="342" y="143"/>
                    </a:cubicBezTo>
                    <a:cubicBezTo>
                      <a:pt x="334" y="152"/>
                      <a:pt x="325" y="160"/>
                      <a:pt x="315" y="169"/>
                    </a:cubicBezTo>
                    <a:cubicBezTo>
                      <a:pt x="290" y="149"/>
                      <a:pt x="264" y="130"/>
                      <a:pt x="237" y="113"/>
                    </a:cubicBezTo>
                    <a:cubicBezTo>
                      <a:pt x="233" y="109"/>
                      <a:pt x="228" y="115"/>
                      <a:pt x="225" y="116"/>
                    </a:cubicBezTo>
                    <a:cubicBezTo>
                      <a:pt x="194" y="137"/>
                      <a:pt x="165" y="159"/>
                      <a:pt x="138" y="183"/>
                    </a:cubicBezTo>
                    <a:cubicBezTo>
                      <a:pt x="162" y="205"/>
                      <a:pt x="189" y="224"/>
                      <a:pt x="215" y="243"/>
                    </a:cubicBezTo>
                    <a:cubicBezTo>
                      <a:pt x="204" y="250"/>
                      <a:pt x="192" y="257"/>
                      <a:pt x="179" y="263"/>
                    </a:cubicBezTo>
                    <a:cubicBezTo>
                      <a:pt x="156" y="245"/>
                      <a:pt x="132" y="228"/>
                      <a:pt x="111" y="208"/>
                    </a:cubicBezTo>
                    <a:cubicBezTo>
                      <a:pt x="96" y="224"/>
                      <a:pt x="82" y="239"/>
                      <a:pt x="69" y="257"/>
                    </a:cubicBezTo>
                    <a:cubicBezTo>
                      <a:pt x="56" y="275"/>
                      <a:pt x="41" y="296"/>
                      <a:pt x="42" y="319"/>
                    </a:cubicBezTo>
                    <a:cubicBezTo>
                      <a:pt x="52" y="333"/>
                      <a:pt x="72" y="327"/>
                      <a:pt x="87" y="325"/>
                    </a:cubicBezTo>
                    <a:cubicBezTo>
                      <a:pt x="145" y="312"/>
                      <a:pt x="197" y="282"/>
                      <a:pt x="247" y="250"/>
                    </a:cubicBezTo>
                    <a:cubicBezTo>
                      <a:pt x="303" y="212"/>
                      <a:pt x="357" y="169"/>
                      <a:pt x="399" y="115"/>
                    </a:cubicBezTo>
                    <a:cubicBezTo>
                      <a:pt x="414" y="95"/>
                      <a:pt x="430" y="72"/>
                      <a:pt x="430" y="46"/>
                    </a:cubicBezTo>
                    <a:cubicBezTo>
                      <a:pt x="416" y="36"/>
                      <a:pt x="399" y="40"/>
                      <a:pt x="384" y="42"/>
                    </a:cubicBezTo>
                    <a:cubicBezTo>
                      <a:pt x="343" y="51"/>
                      <a:pt x="306" y="69"/>
                      <a:pt x="270" y="8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0" name="Freeform 27">
                <a:extLst>
                  <a:ext uri="{FF2B5EF4-FFF2-40B4-BE49-F238E27FC236}">
                    <a16:creationId xmlns:a16="http://schemas.microsoft.com/office/drawing/2014/main" xmlns="" id="{D155B40A-047D-40B9-B239-48B06760507B}"/>
                  </a:ext>
                </a:extLst>
              </p:cNvPr>
              <p:cNvSpPr>
                <a:spLocks/>
              </p:cNvSpPr>
              <p:nvPr/>
            </p:nvSpPr>
            <p:spPr bwMode="auto">
              <a:xfrm>
                <a:off x="4394790" y="2304964"/>
                <a:ext cx="120658" cy="96158"/>
              </a:xfrm>
              <a:custGeom>
                <a:avLst/>
                <a:gdLst>
                  <a:gd name="T0" fmla="*/ 111 w 208"/>
                  <a:gd name="T1" fmla="*/ 55 h 167"/>
                  <a:gd name="T2" fmla="*/ 159 w 208"/>
                  <a:gd name="T3" fmla="*/ 8 h 167"/>
                  <a:gd name="T4" fmla="*/ 186 w 208"/>
                  <a:gd name="T5" fmla="*/ 65 h 167"/>
                  <a:gd name="T6" fmla="*/ 198 w 208"/>
                  <a:gd name="T7" fmla="*/ 136 h 167"/>
                  <a:gd name="T8" fmla="*/ 135 w 208"/>
                  <a:gd name="T9" fmla="*/ 165 h 167"/>
                  <a:gd name="T10" fmla="*/ 0 w 208"/>
                  <a:gd name="T11" fmla="*/ 119 h 167"/>
                  <a:gd name="T12" fmla="*/ 34 w 208"/>
                  <a:gd name="T13" fmla="*/ 94 h 167"/>
                  <a:gd name="T14" fmla="*/ 135 w 208"/>
                  <a:gd name="T15" fmla="*/ 128 h 167"/>
                  <a:gd name="T16" fmla="*/ 164 w 208"/>
                  <a:gd name="T17" fmla="*/ 125 h 167"/>
                  <a:gd name="T18" fmla="*/ 156 w 208"/>
                  <a:gd name="T19" fmla="*/ 87 h 167"/>
                  <a:gd name="T20" fmla="*/ 111 w 208"/>
                  <a:gd name="T21" fmla="*/ 55 h 1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8" h="167">
                    <a:moveTo>
                      <a:pt x="111" y="55"/>
                    </a:moveTo>
                    <a:cubicBezTo>
                      <a:pt x="104" y="28"/>
                      <a:pt x="132" y="0"/>
                      <a:pt x="159" y="8"/>
                    </a:cubicBezTo>
                    <a:cubicBezTo>
                      <a:pt x="184" y="13"/>
                      <a:pt x="197" y="43"/>
                      <a:pt x="186" y="65"/>
                    </a:cubicBezTo>
                    <a:cubicBezTo>
                      <a:pt x="197" y="86"/>
                      <a:pt x="208" y="112"/>
                      <a:pt x="198" y="136"/>
                    </a:cubicBezTo>
                    <a:cubicBezTo>
                      <a:pt x="188" y="160"/>
                      <a:pt x="159" y="167"/>
                      <a:pt x="135" y="165"/>
                    </a:cubicBezTo>
                    <a:cubicBezTo>
                      <a:pt x="87" y="160"/>
                      <a:pt x="42" y="140"/>
                      <a:pt x="0" y="119"/>
                    </a:cubicBezTo>
                    <a:cubicBezTo>
                      <a:pt x="8" y="108"/>
                      <a:pt x="23" y="102"/>
                      <a:pt x="34" y="94"/>
                    </a:cubicBezTo>
                    <a:cubicBezTo>
                      <a:pt x="66" y="111"/>
                      <a:pt x="99" y="124"/>
                      <a:pt x="135" y="128"/>
                    </a:cubicBezTo>
                    <a:cubicBezTo>
                      <a:pt x="145" y="130"/>
                      <a:pt x="155" y="127"/>
                      <a:pt x="164" y="125"/>
                    </a:cubicBezTo>
                    <a:cubicBezTo>
                      <a:pt x="168" y="111"/>
                      <a:pt x="162" y="99"/>
                      <a:pt x="156" y="87"/>
                    </a:cubicBezTo>
                    <a:cubicBezTo>
                      <a:pt x="136" y="89"/>
                      <a:pt x="115" y="76"/>
                      <a:pt x="111" y="5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1" name="Freeform 156">
                <a:extLst>
                  <a:ext uri="{FF2B5EF4-FFF2-40B4-BE49-F238E27FC236}">
                    <a16:creationId xmlns:a16="http://schemas.microsoft.com/office/drawing/2014/main" xmlns="" id="{D127F166-185C-47D2-99FA-7E6BCD40A435}"/>
                  </a:ext>
                </a:extLst>
              </p:cNvPr>
              <p:cNvSpPr>
                <a:spLocks/>
              </p:cNvSpPr>
              <p:nvPr/>
            </p:nvSpPr>
            <p:spPr bwMode="auto">
              <a:xfrm>
                <a:off x="4338299" y="2392951"/>
                <a:ext cx="80074" cy="50524"/>
              </a:xfrm>
              <a:custGeom>
                <a:avLst/>
                <a:gdLst>
                  <a:gd name="T0" fmla="*/ 0 w 138"/>
                  <a:gd name="T1" fmla="*/ 18 h 88"/>
                  <a:gd name="T2" fmla="*/ 33 w 138"/>
                  <a:gd name="T3" fmla="*/ 2 h 88"/>
                  <a:gd name="T4" fmla="*/ 63 w 138"/>
                  <a:gd name="T5" fmla="*/ 47 h 88"/>
                  <a:gd name="T6" fmla="*/ 81 w 138"/>
                  <a:gd name="T7" fmla="*/ 42 h 88"/>
                  <a:gd name="T8" fmla="*/ 104 w 138"/>
                  <a:gd name="T9" fmla="*/ 0 h 88"/>
                  <a:gd name="T10" fmla="*/ 138 w 138"/>
                  <a:gd name="T11" fmla="*/ 14 h 88"/>
                  <a:gd name="T12" fmla="*/ 98 w 138"/>
                  <a:gd name="T13" fmla="*/ 76 h 88"/>
                  <a:gd name="T14" fmla="*/ 41 w 138"/>
                  <a:gd name="T15" fmla="*/ 77 h 88"/>
                  <a:gd name="T16" fmla="*/ 0 w 138"/>
                  <a:gd name="T17" fmla="*/ 18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8" h="88">
                    <a:moveTo>
                      <a:pt x="0" y="18"/>
                    </a:moveTo>
                    <a:cubicBezTo>
                      <a:pt x="11" y="13"/>
                      <a:pt x="22" y="7"/>
                      <a:pt x="33" y="2"/>
                    </a:cubicBezTo>
                    <a:cubicBezTo>
                      <a:pt x="41" y="19"/>
                      <a:pt x="48" y="37"/>
                      <a:pt x="63" y="47"/>
                    </a:cubicBezTo>
                    <a:cubicBezTo>
                      <a:pt x="69" y="51"/>
                      <a:pt x="76" y="47"/>
                      <a:pt x="81" y="42"/>
                    </a:cubicBezTo>
                    <a:cubicBezTo>
                      <a:pt x="92" y="31"/>
                      <a:pt x="99" y="15"/>
                      <a:pt x="104" y="0"/>
                    </a:cubicBezTo>
                    <a:cubicBezTo>
                      <a:pt x="116" y="4"/>
                      <a:pt x="127" y="9"/>
                      <a:pt x="138" y="14"/>
                    </a:cubicBezTo>
                    <a:cubicBezTo>
                      <a:pt x="130" y="37"/>
                      <a:pt x="118" y="61"/>
                      <a:pt x="98" y="76"/>
                    </a:cubicBezTo>
                    <a:cubicBezTo>
                      <a:pt x="82" y="88"/>
                      <a:pt x="58" y="88"/>
                      <a:pt x="41" y="77"/>
                    </a:cubicBezTo>
                    <a:cubicBezTo>
                      <a:pt x="21" y="63"/>
                      <a:pt x="10" y="40"/>
                      <a:pt x="0"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12" name="Group 67"/>
            <p:cNvGrpSpPr/>
            <p:nvPr/>
          </p:nvGrpSpPr>
          <p:grpSpPr>
            <a:xfrm>
              <a:off x="9080206" y="2049588"/>
              <a:ext cx="324000" cy="324000"/>
              <a:chOff x="8879361" y="2047508"/>
              <a:chExt cx="504000" cy="504000"/>
            </a:xfrm>
          </p:grpSpPr>
          <p:sp>
            <p:nvSpPr>
              <p:cNvPr id="113" name="Rectangle 18">
                <a:extLst>
                  <a:ext uri="{FF2B5EF4-FFF2-40B4-BE49-F238E27FC236}">
                    <a16:creationId xmlns:a16="http://schemas.microsoft.com/office/drawing/2014/main" xmlns="" id="{E010F6D9-ACB5-4469-81CB-6190A2F81DCC}"/>
                  </a:ext>
                </a:extLst>
              </p:cNvPr>
              <p:cNvSpPr/>
              <p:nvPr>
                <p:custDataLst>
                  <p:tags r:id="rId2"/>
                </p:custDataLst>
              </p:nvPr>
            </p:nvSpPr>
            <p:spPr bwMode="auto">
              <a:xfrm>
                <a:off x="8879361" y="2047508"/>
                <a:ext cx="504000" cy="504000"/>
              </a:xfrm>
              <a:prstGeom prst="ellipse">
                <a:avLst/>
              </a:prstGeom>
              <a:solidFill>
                <a:srgbClr val="FFC000"/>
              </a:solidFill>
              <a:ln w="28575" algn="ctr">
                <a:solidFill>
                  <a:schemeClr val="bg1"/>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114" name="Freeform 123">
                <a:extLst>
                  <a:ext uri="{FF2B5EF4-FFF2-40B4-BE49-F238E27FC236}">
                    <a16:creationId xmlns:a16="http://schemas.microsoft.com/office/drawing/2014/main" xmlns="" id="{88549E10-E69C-4545-891B-4A3889A69A59}"/>
                  </a:ext>
                </a:extLst>
              </p:cNvPr>
              <p:cNvSpPr>
                <a:spLocks noEditPoints="1"/>
              </p:cNvSpPr>
              <p:nvPr/>
            </p:nvSpPr>
            <p:spPr bwMode="auto">
              <a:xfrm>
                <a:off x="8972086" y="2117362"/>
                <a:ext cx="335942" cy="280501"/>
              </a:xfrm>
              <a:custGeom>
                <a:avLst/>
                <a:gdLst>
                  <a:gd name="T0" fmla="*/ 1012 w 2036"/>
                  <a:gd name="T1" fmla="*/ 1699 h 1700"/>
                  <a:gd name="T2" fmla="*/ 284 w 2036"/>
                  <a:gd name="T3" fmla="*/ 1700 h 1700"/>
                  <a:gd name="T4" fmla="*/ 193 w 2036"/>
                  <a:gd name="T5" fmla="*/ 1651 h 1700"/>
                  <a:gd name="T6" fmla="*/ 21 w 2036"/>
                  <a:gd name="T7" fmla="*/ 1014 h 1700"/>
                  <a:gd name="T8" fmla="*/ 641 w 2036"/>
                  <a:gd name="T9" fmla="*/ 163 h 1700"/>
                  <a:gd name="T10" fmla="*/ 1754 w 2036"/>
                  <a:gd name="T11" fmla="*/ 417 h 1700"/>
                  <a:gd name="T12" fmla="*/ 2003 w 2036"/>
                  <a:gd name="T13" fmla="*/ 956 h 1700"/>
                  <a:gd name="T14" fmla="*/ 1830 w 2036"/>
                  <a:gd name="T15" fmla="*/ 1660 h 1700"/>
                  <a:gd name="T16" fmla="*/ 1754 w 2036"/>
                  <a:gd name="T17" fmla="*/ 1700 h 1700"/>
                  <a:gd name="T18" fmla="*/ 1012 w 2036"/>
                  <a:gd name="T19" fmla="*/ 1699 h 1700"/>
                  <a:gd name="T20" fmla="*/ 1012 w 2036"/>
                  <a:gd name="T21" fmla="*/ 1699 h 1700"/>
                  <a:gd name="T22" fmla="*/ 1015 w 2036"/>
                  <a:gd name="T23" fmla="*/ 1522 h 1700"/>
                  <a:gd name="T24" fmla="*/ 1718 w 2036"/>
                  <a:gd name="T25" fmla="*/ 1523 h 1700"/>
                  <a:gd name="T26" fmla="*/ 1750 w 2036"/>
                  <a:gd name="T27" fmla="*/ 1505 h 1700"/>
                  <a:gd name="T28" fmla="*/ 1834 w 2036"/>
                  <a:gd name="T29" fmla="*/ 875 h 1700"/>
                  <a:gd name="T30" fmla="*/ 665 w 2036"/>
                  <a:gd name="T31" fmla="*/ 317 h 1700"/>
                  <a:gd name="T32" fmla="*/ 279 w 2036"/>
                  <a:gd name="T33" fmla="*/ 1502 h 1700"/>
                  <a:gd name="T34" fmla="*/ 315 w 2036"/>
                  <a:gd name="T35" fmla="*/ 1523 h 1700"/>
                  <a:gd name="T36" fmla="*/ 1015 w 2036"/>
                  <a:gd name="T37" fmla="*/ 1522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6" h="1700">
                    <a:moveTo>
                      <a:pt x="1012" y="1699"/>
                    </a:moveTo>
                    <a:cubicBezTo>
                      <a:pt x="770" y="1699"/>
                      <a:pt x="527" y="1699"/>
                      <a:pt x="284" y="1700"/>
                    </a:cubicBezTo>
                    <a:cubicBezTo>
                      <a:pt x="243" y="1700"/>
                      <a:pt x="216" y="1685"/>
                      <a:pt x="193" y="1651"/>
                    </a:cubicBezTo>
                    <a:cubicBezTo>
                      <a:pt x="62" y="1458"/>
                      <a:pt x="0" y="1245"/>
                      <a:pt x="21" y="1014"/>
                    </a:cubicBezTo>
                    <a:cubicBezTo>
                      <a:pt x="59" y="610"/>
                      <a:pt x="267" y="320"/>
                      <a:pt x="641" y="163"/>
                    </a:cubicBezTo>
                    <a:cubicBezTo>
                      <a:pt x="1032" y="0"/>
                      <a:pt x="1469" y="104"/>
                      <a:pt x="1754" y="417"/>
                    </a:cubicBezTo>
                    <a:cubicBezTo>
                      <a:pt x="1893" y="569"/>
                      <a:pt x="1977" y="750"/>
                      <a:pt x="2003" y="956"/>
                    </a:cubicBezTo>
                    <a:cubicBezTo>
                      <a:pt x="2036" y="1212"/>
                      <a:pt x="1977" y="1447"/>
                      <a:pt x="1830" y="1660"/>
                    </a:cubicBezTo>
                    <a:cubicBezTo>
                      <a:pt x="1812" y="1688"/>
                      <a:pt x="1787" y="1700"/>
                      <a:pt x="1754" y="1700"/>
                    </a:cubicBezTo>
                    <a:cubicBezTo>
                      <a:pt x="1507" y="1699"/>
                      <a:pt x="1260" y="1699"/>
                      <a:pt x="1012" y="1699"/>
                    </a:cubicBezTo>
                    <a:cubicBezTo>
                      <a:pt x="1012" y="1699"/>
                      <a:pt x="1012" y="1699"/>
                      <a:pt x="1012" y="1699"/>
                    </a:cubicBezTo>
                    <a:close/>
                    <a:moveTo>
                      <a:pt x="1015" y="1522"/>
                    </a:moveTo>
                    <a:cubicBezTo>
                      <a:pt x="1249" y="1522"/>
                      <a:pt x="1484" y="1522"/>
                      <a:pt x="1718" y="1523"/>
                    </a:cubicBezTo>
                    <a:cubicBezTo>
                      <a:pt x="1734" y="1523"/>
                      <a:pt x="1742" y="1518"/>
                      <a:pt x="1750" y="1505"/>
                    </a:cubicBezTo>
                    <a:cubicBezTo>
                      <a:pt x="1861" y="1306"/>
                      <a:pt x="1890" y="1095"/>
                      <a:pt x="1834" y="875"/>
                    </a:cubicBezTo>
                    <a:cubicBezTo>
                      <a:pt x="1703" y="366"/>
                      <a:pt x="1145" y="100"/>
                      <a:pt x="665" y="317"/>
                    </a:cubicBezTo>
                    <a:cubicBezTo>
                      <a:pt x="214" y="520"/>
                      <a:pt x="35" y="1072"/>
                      <a:pt x="279" y="1502"/>
                    </a:cubicBezTo>
                    <a:cubicBezTo>
                      <a:pt x="288" y="1518"/>
                      <a:pt x="297" y="1523"/>
                      <a:pt x="315" y="1523"/>
                    </a:cubicBezTo>
                    <a:cubicBezTo>
                      <a:pt x="548" y="1522"/>
                      <a:pt x="781" y="1522"/>
                      <a:pt x="1015" y="15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25">
                <a:extLst>
                  <a:ext uri="{FF2B5EF4-FFF2-40B4-BE49-F238E27FC236}">
                    <a16:creationId xmlns:a16="http://schemas.microsoft.com/office/drawing/2014/main" xmlns="" id="{92330E42-0501-4930-A7CE-75E877197BBC}"/>
                  </a:ext>
                </a:extLst>
              </p:cNvPr>
              <p:cNvSpPr>
                <a:spLocks noEditPoints="1"/>
              </p:cNvSpPr>
              <p:nvPr/>
            </p:nvSpPr>
            <p:spPr bwMode="auto">
              <a:xfrm>
                <a:off x="9107517" y="2228739"/>
                <a:ext cx="66562" cy="115496"/>
              </a:xfrm>
              <a:custGeom>
                <a:avLst/>
                <a:gdLst>
                  <a:gd name="T0" fmla="*/ 26 w 403"/>
                  <a:gd name="T1" fmla="*/ 0 h 700"/>
                  <a:gd name="T2" fmla="*/ 144 w 403"/>
                  <a:gd name="T3" fmla="*/ 153 h 700"/>
                  <a:gd name="T4" fmla="*/ 237 w 403"/>
                  <a:gd name="T5" fmla="*/ 273 h 700"/>
                  <a:gd name="T6" fmla="*/ 315 w 403"/>
                  <a:gd name="T7" fmla="*/ 354 h 700"/>
                  <a:gd name="T8" fmla="*/ 370 w 403"/>
                  <a:gd name="T9" fmla="*/ 575 h 700"/>
                  <a:gd name="T10" fmla="*/ 170 w 403"/>
                  <a:gd name="T11" fmla="*/ 690 h 700"/>
                  <a:gd name="T12" fmla="*/ 6 w 403"/>
                  <a:gd name="T13" fmla="*/ 532 h 700"/>
                  <a:gd name="T14" fmla="*/ 15 w 403"/>
                  <a:gd name="T15" fmla="*/ 434 h 700"/>
                  <a:gd name="T16" fmla="*/ 22 w 403"/>
                  <a:gd name="T17" fmla="*/ 395 h 700"/>
                  <a:gd name="T18" fmla="*/ 22 w 403"/>
                  <a:gd name="T19" fmla="*/ 27 h 700"/>
                  <a:gd name="T20" fmla="*/ 22 w 403"/>
                  <a:gd name="T21" fmla="*/ 1 h 700"/>
                  <a:gd name="T22" fmla="*/ 26 w 403"/>
                  <a:gd name="T23" fmla="*/ 0 h 700"/>
                  <a:gd name="T24" fmla="*/ 291 w 403"/>
                  <a:gd name="T25" fmla="*/ 500 h 700"/>
                  <a:gd name="T26" fmla="*/ 195 w 403"/>
                  <a:gd name="T27" fmla="*/ 403 h 700"/>
                  <a:gd name="T28" fmla="*/ 98 w 403"/>
                  <a:gd name="T29" fmla="*/ 500 h 700"/>
                  <a:gd name="T30" fmla="*/ 195 w 403"/>
                  <a:gd name="T31" fmla="*/ 597 h 700"/>
                  <a:gd name="T32" fmla="*/ 291 w 403"/>
                  <a:gd name="T33" fmla="*/ 5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3" h="700">
                    <a:moveTo>
                      <a:pt x="26" y="0"/>
                    </a:moveTo>
                    <a:cubicBezTo>
                      <a:pt x="65" y="51"/>
                      <a:pt x="105" y="102"/>
                      <a:pt x="144" y="153"/>
                    </a:cubicBezTo>
                    <a:cubicBezTo>
                      <a:pt x="175" y="193"/>
                      <a:pt x="206" y="233"/>
                      <a:pt x="237" y="273"/>
                    </a:cubicBezTo>
                    <a:cubicBezTo>
                      <a:pt x="260" y="303"/>
                      <a:pt x="284" y="331"/>
                      <a:pt x="315" y="354"/>
                    </a:cubicBezTo>
                    <a:cubicBezTo>
                      <a:pt x="382" y="404"/>
                      <a:pt x="403" y="497"/>
                      <a:pt x="370" y="575"/>
                    </a:cubicBezTo>
                    <a:cubicBezTo>
                      <a:pt x="336" y="654"/>
                      <a:pt x="255" y="700"/>
                      <a:pt x="170" y="690"/>
                    </a:cubicBezTo>
                    <a:cubicBezTo>
                      <a:pt x="88" y="680"/>
                      <a:pt x="19" y="613"/>
                      <a:pt x="6" y="532"/>
                    </a:cubicBezTo>
                    <a:cubicBezTo>
                      <a:pt x="0" y="498"/>
                      <a:pt x="5" y="466"/>
                      <a:pt x="15" y="434"/>
                    </a:cubicBezTo>
                    <a:cubicBezTo>
                      <a:pt x="19" y="421"/>
                      <a:pt x="22" y="408"/>
                      <a:pt x="22" y="395"/>
                    </a:cubicBezTo>
                    <a:cubicBezTo>
                      <a:pt x="22" y="272"/>
                      <a:pt x="22" y="150"/>
                      <a:pt x="22" y="27"/>
                    </a:cubicBezTo>
                    <a:cubicBezTo>
                      <a:pt x="22" y="19"/>
                      <a:pt x="22" y="10"/>
                      <a:pt x="22" y="1"/>
                    </a:cubicBezTo>
                    <a:cubicBezTo>
                      <a:pt x="23" y="1"/>
                      <a:pt x="25" y="0"/>
                      <a:pt x="26" y="0"/>
                    </a:cubicBezTo>
                    <a:close/>
                    <a:moveTo>
                      <a:pt x="291" y="500"/>
                    </a:moveTo>
                    <a:cubicBezTo>
                      <a:pt x="291" y="447"/>
                      <a:pt x="248" y="404"/>
                      <a:pt x="195" y="403"/>
                    </a:cubicBezTo>
                    <a:cubicBezTo>
                      <a:pt x="142" y="403"/>
                      <a:pt x="98" y="447"/>
                      <a:pt x="98" y="500"/>
                    </a:cubicBezTo>
                    <a:cubicBezTo>
                      <a:pt x="98" y="554"/>
                      <a:pt x="141" y="597"/>
                      <a:pt x="195" y="597"/>
                    </a:cubicBezTo>
                    <a:cubicBezTo>
                      <a:pt x="249" y="596"/>
                      <a:pt x="291" y="554"/>
                      <a:pt x="291" y="5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26">
                <a:extLst>
                  <a:ext uri="{FF2B5EF4-FFF2-40B4-BE49-F238E27FC236}">
                    <a16:creationId xmlns:a16="http://schemas.microsoft.com/office/drawing/2014/main" xmlns="" id="{09F1B384-FC8A-4087-BED3-0C640BD61E9D}"/>
                  </a:ext>
                </a:extLst>
              </p:cNvPr>
              <p:cNvSpPr>
                <a:spLocks/>
              </p:cNvSpPr>
              <p:nvPr/>
            </p:nvSpPr>
            <p:spPr bwMode="auto">
              <a:xfrm>
                <a:off x="9187425" y="2192327"/>
                <a:ext cx="29986" cy="33446"/>
              </a:xfrm>
              <a:custGeom>
                <a:avLst/>
                <a:gdLst>
                  <a:gd name="T0" fmla="*/ 54 w 182"/>
                  <a:gd name="T1" fmla="*/ 203 h 203"/>
                  <a:gd name="T2" fmla="*/ 16 w 182"/>
                  <a:gd name="T3" fmla="*/ 148 h 203"/>
                  <a:gd name="T4" fmla="*/ 113 w 182"/>
                  <a:gd name="T5" fmla="*/ 16 h 203"/>
                  <a:gd name="T6" fmla="*/ 161 w 182"/>
                  <a:gd name="T7" fmla="*/ 11 h 203"/>
                  <a:gd name="T8" fmla="*/ 171 w 182"/>
                  <a:gd name="T9" fmla="*/ 59 h 203"/>
                  <a:gd name="T10" fmla="*/ 75 w 182"/>
                  <a:gd name="T11" fmla="*/ 191 h 203"/>
                  <a:gd name="T12" fmla="*/ 54 w 182"/>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182" h="203">
                    <a:moveTo>
                      <a:pt x="54" y="203"/>
                    </a:moveTo>
                    <a:cubicBezTo>
                      <a:pt x="21" y="203"/>
                      <a:pt x="0" y="172"/>
                      <a:pt x="16" y="148"/>
                    </a:cubicBezTo>
                    <a:cubicBezTo>
                      <a:pt x="47" y="103"/>
                      <a:pt x="79" y="59"/>
                      <a:pt x="113" y="16"/>
                    </a:cubicBezTo>
                    <a:cubicBezTo>
                      <a:pt x="124" y="1"/>
                      <a:pt x="146" y="0"/>
                      <a:pt x="161" y="11"/>
                    </a:cubicBezTo>
                    <a:cubicBezTo>
                      <a:pt x="176" y="22"/>
                      <a:pt x="182" y="44"/>
                      <a:pt x="171" y="59"/>
                    </a:cubicBezTo>
                    <a:cubicBezTo>
                      <a:pt x="140" y="104"/>
                      <a:pt x="108" y="148"/>
                      <a:pt x="75" y="191"/>
                    </a:cubicBezTo>
                    <a:cubicBezTo>
                      <a:pt x="70" y="198"/>
                      <a:pt x="59" y="201"/>
                      <a:pt x="54" y="20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7">
                <a:extLst>
                  <a:ext uri="{FF2B5EF4-FFF2-40B4-BE49-F238E27FC236}">
                    <a16:creationId xmlns:a16="http://schemas.microsoft.com/office/drawing/2014/main" xmlns="" id="{7317791D-3D57-4C53-96CB-EC768742FD28}"/>
                  </a:ext>
                </a:extLst>
              </p:cNvPr>
              <p:cNvSpPr>
                <a:spLocks/>
              </p:cNvSpPr>
              <p:nvPr/>
            </p:nvSpPr>
            <p:spPr bwMode="auto">
              <a:xfrm>
                <a:off x="9061879" y="2192162"/>
                <a:ext cx="28833" cy="34599"/>
              </a:xfrm>
              <a:custGeom>
                <a:avLst/>
                <a:gdLst>
                  <a:gd name="T0" fmla="*/ 41 w 175"/>
                  <a:gd name="T1" fmla="*/ 0 h 210"/>
                  <a:gd name="T2" fmla="*/ 74 w 175"/>
                  <a:gd name="T3" fmla="*/ 23 h 210"/>
                  <a:gd name="T4" fmla="*/ 161 w 175"/>
                  <a:gd name="T5" fmla="*/ 142 h 210"/>
                  <a:gd name="T6" fmla="*/ 154 w 175"/>
                  <a:gd name="T7" fmla="*/ 197 h 210"/>
                  <a:gd name="T8" fmla="*/ 100 w 175"/>
                  <a:gd name="T9" fmla="*/ 186 h 210"/>
                  <a:gd name="T10" fmla="*/ 12 w 175"/>
                  <a:gd name="T11" fmla="*/ 66 h 210"/>
                  <a:gd name="T12" fmla="*/ 10 w 175"/>
                  <a:gd name="T13" fmla="*/ 25 h 210"/>
                  <a:gd name="T14" fmla="*/ 41 w 175"/>
                  <a:gd name="T15" fmla="*/ 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210">
                    <a:moveTo>
                      <a:pt x="41" y="0"/>
                    </a:moveTo>
                    <a:cubicBezTo>
                      <a:pt x="54" y="9"/>
                      <a:pt x="67" y="14"/>
                      <a:pt x="74" y="23"/>
                    </a:cubicBezTo>
                    <a:cubicBezTo>
                      <a:pt x="103" y="62"/>
                      <a:pt x="132" y="102"/>
                      <a:pt x="161" y="142"/>
                    </a:cubicBezTo>
                    <a:cubicBezTo>
                      <a:pt x="175" y="162"/>
                      <a:pt x="172" y="184"/>
                      <a:pt x="154" y="197"/>
                    </a:cubicBezTo>
                    <a:cubicBezTo>
                      <a:pt x="136" y="210"/>
                      <a:pt x="115" y="206"/>
                      <a:pt x="100" y="186"/>
                    </a:cubicBezTo>
                    <a:cubicBezTo>
                      <a:pt x="71" y="146"/>
                      <a:pt x="42" y="106"/>
                      <a:pt x="12" y="66"/>
                    </a:cubicBezTo>
                    <a:cubicBezTo>
                      <a:pt x="3" y="52"/>
                      <a:pt x="0" y="37"/>
                      <a:pt x="10" y="25"/>
                    </a:cubicBezTo>
                    <a:cubicBezTo>
                      <a:pt x="17" y="15"/>
                      <a:pt x="29" y="9"/>
                      <a:pt x="4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28">
                <a:extLst>
                  <a:ext uri="{FF2B5EF4-FFF2-40B4-BE49-F238E27FC236}">
                    <a16:creationId xmlns:a16="http://schemas.microsoft.com/office/drawing/2014/main" xmlns="" id="{2C6E73CB-D34E-430D-9335-0418CA2C8590}"/>
                  </a:ext>
                </a:extLst>
              </p:cNvPr>
              <p:cNvSpPr>
                <a:spLocks/>
              </p:cNvSpPr>
              <p:nvPr/>
            </p:nvSpPr>
            <p:spPr bwMode="auto">
              <a:xfrm>
                <a:off x="9018301" y="2253205"/>
                <a:ext cx="37647" cy="20760"/>
              </a:xfrm>
              <a:custGeom>
                <a:avLst/>
                <a:gdLst>
                  <a:gd name="T0" fmla="*/ 48 w 228"/>
                  <a:gd name="T1" fmla="*/ 0 h 126"/>
                  <a:gd name="T2" fmla="*/ 208 w 228"/>
                  <a:gd name="T3" fmla="*/ 55 h 126"/>
                  <a:gd name="T4" fmla="*/ 221 w 228"/>
                  <a:gd name="T5" fmla="*/ 101 h 126"/>
                  <a:gd name="T6" fmla="*/ 179 w 228"/>
                  <a:gd name="T7" fmla="*/ 121 h 126"/>
                  <a:gd name="T8" fmla="*/ 26 w 228"/>
                  <a:gd name="T9" fmla="*/ 71 h 126"/>
                  <a:gd name="T10" fmla="*/ 4 w 228"/>
                  <a:gd name="T11" fmla="*/ 29 h 126"/>
                  <a:gd name="T12" fmla="*/ 48 w 22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228" h="126">
                    <a:moveTo>
                      <a:pt x="48" y="0"/>
                    </a:moveTo>
                    <a:cubicBezTo>
                      <a:pt x="97" y="16"/>
                      <a:pt x="153" y="34"/>
                      <a:pt x="208" y="55"/>
                    </a:cubicBezTo>
                    <a:cubicBezTo>
                      <a:pt x="224" y="61"/>
                      <a:pt x="228" y="85"/>
                      <a:pt x="221" y="101"/>
                    </a:cubicBezTo>
                    <a:cubicBezTo>
                      <a:pt x="214" y="116"/>
                      <a:pt x="195" y="126"/>
                      <a:pt x="179" y="121"/>
                    </a:cubicBezTo>
                    <a:cubicBezTo>
                      <a:pt x="128" y="105"/>
                      <a:pt x="77" y="89"/>
                      <a:pt x="26" y="71"/>
                    </a:cubicBezTo>
                    <a:cubicBezTo>
                      <a:pt x="8" y="65"/>
                      <a:pt x="0" y="46"/>
                      <a:pt x="4" y="29"/>
                    </a:cubicBezTo>
                    <a:cubicBezTo>
                      <a:pt x="8" y="13"/>
                      <a:pt x="24" y="0"/>
                      <a:pt x="4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29">
                <a:extLst>
                  <a:ext uri="{FF2B5EF4-FFF2-40B4-BE49-F238E27FC236}">
                    <a16:creationId xmlns:a16="http://schemas.microsoft.com/office/drawing/2014/main" xmlns="" id="{7DE99E2C-333C-48C0-A63D-9B45B4795CA4}"/>
                  </a:ext>
                </a:extLst>
              </p:cNvPr>
              <p:cNvSpPr>
                <a:spLocks/>
              </p:cNvSpPr>
              <p:nvPr/>
            </p:nvSpPr>
            <p:spPr bwMode="auto">
              <a:xfrm>
                <a:off x="9223013" y="2252217"/>
                <a:ext cx="37318" cy="21913"/>
              </a:xfrm>
              <a:custGeom>
                <a:avLst/>
                <a:gdLst>
                  <a:gd name="T0" fmla="*/ 225 w 226"/>
                  <a:gd name="T1" fmla="*/ 47 h 133"/>
                  <a:gd name="T2" fmla="*/ 199 w 226"/>
                  <a:gd name="T3" fmla="*/ 79 h 133"/>
                  <a:gd name="T4" fmla="*/ 53 w 226"/>
                  <a:gd name="T5" fmla="*/ 127 h 133"/>
                  <a:gd name="T6" fmla="*/ 7 w 226"/>
                  <a:gd name="T7" fmla="*/ 104 h 133"/>
                  <a:gd name="T8" fmla="*/ 28 w 226"/>
                  <a:gd name="T9" fmla="*/ 57 h 133"/>
                  <a:gd name="T10" fmla="*/ 181 w 226"/>
                  <a:gd name="T11" fmla="*/ 7 h 133"/>
                  <a:gd name="T12" fmla="*/ 225 w 226"/>
                  <a:gd name="T13" fmla="*/ 47 h 133"/>
                </a:gdLst>
                <a:ahLst/>
                <a:cxnLst>
                  <a:cxn ang="0">
                    <a:pos x="T0" y="T1"/>
                  </a:cxn>
                  <a:cxn ang="0">
                    <a:pos x="T2" y="T3"/>
                  </a:cxn>
                  <a:cxn ang="0">
                    <a:pos x="T4" y="T5"/>
                  </a:cxn>
                  <a:cxn ang="0">
                    <a:pos x="T6" y="T7"/>
                  </a:cxn>
                  <a:cxn ang="0">
                    <a:pos x="T8" y="T9"/>
                  </a:cxn>
                  <a:cxn ang="0">
                    <a:pos x="T10" y="T11"/>
                  </a:cxn>
                  <a:cxn ang="0">
                    <a:pos x="T12" y="T13"/>
                  </a:cxn>
                </a:cxnLst>
                <a:rect l="0" t="0" r="r" b="b"/>
                <a:pathLst>
                  <a:path w="226" h="133">
                    <a:moveTo>
                      <a:pt x="225" y="47"/>
                    </a:moveTo>
                    <a:cubicBezTo>
                      <a:pt x="225" y="61"/>
                      <a:pt x="215" y="74"/>
                      <a:pt x="199" y="79"/>
                    </a:cubicBezTo>
                    <a:cubicBezTo>
                      <a:pt x="150" y="95"/>
                      <a:pt x="102" y="111"/>
                      <a:pt x="53" y="127"/>
                    </a:cubicBezTo>
                    <a:cubicBezTo>
                      <a:pt x="34" y="133"/>
                      <a:pt x="14" y="122"/>
                      <a:pt x="7" y="104"/>
                    </a:cubicBezTo>
                    <a:cubicBezTo>
                      <a:pt x="0" y="85"/>
                      <a:pt x="8" y="64"/>
                      <a:pt x="28" y="57"/>
                    </a:cubicBezTo>
                    <a:cubicBezTo>
                      <a:pt x="79" y="39"/>
                      <a:pt x="130" y="22"/>
                      <a:pt x="181" y="7"/>
                    </a:cubicBezTo>
                    <a:cubicBezTo>
                      <a:pt x="203" y="0"/>
                      <a:pt x="226" y="20"/>
                      <a:pt x="225" y="4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30">
                <a:extLst>
                  <a:ext uri="{FF2B5EF4-FFF2-40B4-BE49-F238E27FC236}">
                    <a16:creationId xmlns:a16="http://schemas.microsoft.com/office/drawing/2014/main" xmlns="" id="{24627527-48EE-42E0-B206-2C85FC034163}"/>
                  </a:ext>
                </a:extLst>
              </p:cNvPr>
              <p:cNvSpPr>
                <a:spLocks/>
              </p:cNvSpPr>
              <p:nvPr/>
            </p:nvSpPr>
            <p:spPr bwMode="auto">
              <a:xfrm>
                <a:off x="9018136" y="2318861"/>
                <a:ext cx="37153" cy="21748"/>
              </a:xfrm>
              <a:custGeom>
                <a:avLst/>
                <a:gdLst>
                  <a:gd name="T0" fmla="*/ 225 w 225"/>
                  <a:gd name="T1" fmla="*/ 43 h 132"/>
                  <a:gd name="T2" fmla="*/ 199 w 225"/>
                  <a:gd name="T3" fmla="*/ 79 h 132"/>
                  <a:gd name="T4" fmla="*/ 51 w 225"/>
                  <a:gd name="T5" fmla="*/ 126 h 132"/>
                  <a:gd name="T6" fmla="*/ 6 w 225"/>
                  <a:gd name="T7" fmla="*/ 103 h 132"/>
                  <a:gd name="T8" fmla="*/ 27 w 225"/>
                  <a:gd name="T9" fmla="*/ 57 h 132"/>
                  <a:gd name="T10" fmla="*/ 180 w 225"/>
                  <a:gd name="T11" fmla="*/ 7 h 132"/>
                  <a:gd name="T12" fmla="*/ 225 w 225"/>
                  <a:gd name="T13" fmla="*/ 43 h 132"/>
                </a:gdLst>
                <a:ahLst/>
                <a:cxnLst>
                  <a:cxn ang="0">
                    <a:pos x="T0" y="T1"/>
                  </a:cxn>
                  <a:cxn ang="0">
                    <a:pos x="T2" y="T3"/>
                  </a:cxn>
                  <a:cxn ang="0">
                    <a:pos x="T4" y="T5"/>
                  </a:cxn>
                  <a:cxn ang="0">
                    <a:pos x="T6" y="T7"/>
                  </a:cxn>
                  <a:cxn ang="0">
                    <a:pos x="T8" y="T9"/>
                  </a:cxn>
                  <a:cxn ang="0">
                    <a:pos x="T10" y="T11"/>
                  </a:cxn>
                  <a:cxn ang="0">
                    <a:pos x="T12" y="T13"/>
                  </a:cxn>
                </a:cxnLst>
                <a:rect l="0" t="0" r="r" b="b"/>
                <a:pathLst>
                  <a:path w="225" h="132">
                    <a:moveTo>
                      <a:pt x="225" y="43"/>
                    </a:moveTo>
                    <a:cubicBezTo>
                      <a:pt x="225" y="61"/>
                      <a:pt x="216" y="73"/>
                      <a:pt x="199" y="79"/>
                    </a:cubicBezTo>
                    <a:cubicBezTo>
                      <a:pt x="150" y="95"/>
                      <a:pt x="101" y="111"/>
                      <a:pt x="51" y="126"/>
                    </a:cubicBezTo>
                    <a:cubicBezTo>
                      <a:pt x="32" y="132"/>
                      <a:pt x="13" y="121"/>
                      <a:pt x="6" y="103"/>
                    </a:cubicBezTo>
                    <a:cubicBezTo>
                      <a:pt x="0" y="85"/>
                      <a:pt x="8" y="63"/>
                      <a:pt x="27" y="57"/>
                    </a:cubicBezTo>
                    <a:cubicBezTo>
                      <a:pt x="78" y="39"/>
                      <a:pt x="129" y="22"/>
                      <a:pt x="180" y="7"/>
                    </a:cubicBezTo>
                    <a:cubicBezTo>
                      <a:pt x="203" y="0"/>
                      <a:pt x="224" y="19"/>
                      <a:pt x="225" y="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31">
                <a:extLst>
                  <a:ext uri="{FF2B5EF4-FFF2-40B4-BE49-F238E27FC236}">
                    <a16:creationId xmlns:a16="http://schemas.microsoft.com/office/drawing/2014/main" xmlns="" id="{1B842B5A-BC4D-4FDA-9D1E-7FC2AECD0E5C}"/>
                  </a:ext>
                </a:extLst>
              </p:cNvPr>
              <p:cNvSpPr>
                <a:spLocks/>
              </p:cNvSpPr>
              <p:nvPr/>
            </p:nvSpPr>
            <p:spPr bwMode="auto">
              <a:xfrm>
                <a:off x="9223507" y="2319850"/>
                <a:ext cx="37647" cy="20760"/>
              </a:xfrm>
              <a:custGeom>
                <a:avLst/>
                <a:gdLst>
                  <a:gd name="T0" fmla="*/ 42 w 228"/>
                  <a:gd name="T1" fmla="*/ 0 h 126"/>
                  <a:gd name="T2" fmla="*/ 57 w 228"/>
                  <a:gd name="T3" fmla="*/ 3 h 126"/>
                  <a:gd name="T4" fmla="*/ 191 w 228"/>
                  <a:gd name="T5" fmla="*/ 47 h 126"/>
                  <a:gd name="T6" fmla="*/ 221 w 228"/>
                  <a:gd name="T7" fmla="*/ 95 h 126"/>
                  <a:gd name="T8" fmla="*/ 168 w 228"/>
                  <a:gd name="T9" fmla="*/ 118 h 126"/>
                  <a:gd name="T10" fmla="*/ 30 w 228"/>
                  <a:gd name="T11" fmla="*/ 73 h 126"/>
                  <a:gd name="T12" fmla="*/ 3 w 228"/>
                  <a:gd name="T13" fmla="*/ 30 h 126"/>
                  <a:gd name="T14" fmla="*/ 42 w 228"/>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 h="126">
                    <a:moveTo>
                      <a:pt x="42" y="0"/>
                    </a:moveTo>
                    <a:cubicBezTo>
                      <a:pt x="45" y="0"/>
                      <a:pt x="51" y="2"/>
                      <a:pt x="57" y="3"/>
                    </a:cubicBezTo>
                    <a:cubicBezTo>
                      <a:pt x="101" y="18"/>
                      <a:pt x="146" y="32"/>
                      <a:pt x="191" y="47"/>
                    </a:cubicBezTo>
                    <a:cubicBezTo>
                      <a:pt x="216" y="55"/>
                      <a:pt x="228" y="75"/>
                      <a:pt x="221" y="95"/>
                    </a:cubicBezTo>
                    <a:cubicBezTo>
                      <a:pt x="214" y="117"/>
                      <a:pt x="193" y="126"/>
                      <a:pt x="168" y="118"/>
                    </a:cubicBezTo>
                    <a:cubicBezTo>
                      <a:pt x="122" y="104"/>
                      <a:pt x="75" y="89"/>
                      <a:pt x="30" y="73"/>
                    </a:cubicBezTo>
                    <a:cubicBezTo>
                      <a:pt x="9" y="66"/>
                      <a:pt x="0" y="51"/>
                      <a:pt x="3" y="30"/>
                    </a:cubicBezTo>
                    <a:cubicBezTo>
                      <a:pt x="6" y="13"/>
                      <a:pt x="21" y="0"/>
                      <a:pt x="4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32">
                <a:extLst>
                  <a:ext uri="{FF2B5EF4-FFF2-40B4-BE49-F238E27FC236}">
                    <a16:creationId xmlns:a16="http://schemas.microsoft.com/office/drawing/2014/main" xmlns="" id="{4FBDC0DF-8512-4208-AA15-359BA6E9D1AF}"/>
                  </a:ext>
                </a:extLst>
              </p:cNvPr>
              <p:cNvSpPr>
                <a:spLocks/>
              </p:cNvSpPr>
              <p:nvPr/>
            </p:nvSpPr>
            <p:spPr bwMode="auto">
              <a:xfrm>
                <a:off x="9133302" y="2169838"/>
                <a:ext cx="12522" cy="37812"/>
              </a:xfrm>
              <a:custGeom>
                <a:avLst/>
                <a:gdLst>
                  <a:gd name="T0" fmla="*/ 75 w 76"/>
                  <a:gd name="T1" fmla="*/ 114 h 229"/>
                  <a:gd name="T2" fmla="*/ 75 w 76"/>
                  <a:gd name="T3" fmla="*/ 190 h 229"/>
                  <a:gd name="T4" fmla="*/ 38 w 76"/>
                  <a:gd name="T5" fmla="*/ 228 h 229"/>
                  <a:gd name="T6" fmla="*/ 1 w 76"/>
                  <a:gd name="T7" fmla="*/ 190 h 229"/>
                  <a:gd name="T8" fmla="*/ 1 w 76"/>
                  <a:gd name="T9" fmla="*/ 39 h 229"/>
                  <a:gd name="T10" fmla="*/ 39 w 76"/>
                  <a:gd name="T11" fmla="*/ 1 h 229"/>
                  <a:gd name="T12" fmla="*/ 75 w 76"/>
                  <a:gd name="T13" fmla="*/ 40 h 229"/>
                  <a:gd name="T14" fmla="*/ 75 w 76"/>
                  <a:gd name="T15" fmla="*/ 114 h 2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9">
                    <a:moveTo>
                      <a:pt x="75" y="114"/>
                    </a:moveTo>
                    <a:cubicBezTo>
                      <a:pt x="75" y="139"/>
                      <a:pt x="76" y="165"/>
                      <a:pt x="75" y="190"/>
                    </a:cubicBezTo>
                    <a:cubicBezTo>
                      <a:pt x="74" y="214"/>
                      <a:pt x="60" y="228"/>
                      <a:pt x="38" y="228"/>
                    </a:cubicBezTo>
                    <a:cubicBezTo>
                      <a:pt x="16" y="229"/>
                      <a:pt x="1" y="215"/>
                      <a:pt x="1" y="190"/>
                    </a:cubicBezTo>
                    <a:cubicBezTo>
                      <a:pt x="0" y="140"/>
                      <a:pt x="0" y="89"/>
                      <a:pt x="1" y="39"/>
                    </a:cubicBezTo>
                    <a:cubicBezTo>
                      <a:pt x="1" y="16"/>
                      <a:pt x="18" y="0"/>
                      <a:pt x="39" y="1"/>
                    </a:cubicBezTo>
                    <a:cubicBezTo>
                      <a:pt x="60" y="1"/>
                      <a:pt x="74" y="16"/>
                      <a:pt x="75" y="40"/>
                    </a:cubicBezTo>
                    <a:cubicBezTo>
                      <a:pt x="76" y="65"/>
                      <a:pt x="75" y="89"/>
                      <a:pt x="75" y="1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3" name="Group 82"/>
            <p:cNvGrpSpPr/>
            <p:nvPr/>
          </p:nvGrpSpPr>
          <p:grpSpPr>
            <a:xfrm>
              <a:off x="11367977" y="2049588"/>
              <a:ext cx="324000" cy="324000"/>
              <a:chOff x="11140646" y="2047508"/>
              <a:chExt cx="504000" cy="504000"/>
            </a:xfrm>
          </p:grpSpPr>
          <p:sp>
            <p:nvSpPr>
              <p:cNvPr id="124" name="Rectangle 18">
                <a:extLst>
                  <a:ext uri="{FF2B5EF4-FFF2-40B4-BE49-F238E27FC236}">
                    <a16:creationId xmlns:a16="http://schemas.microsoft.com/office/drawing/2014/main" xmlns="" id="{EF392B47-03D7-4863-9D24-C8988570DAC3}"/>
                  </a:ext>
                </a:extLst>
              </p:cNvPr>
              <p:cNvSpPr/>
              <p:nvPr>
                <p:custDataLst>
                  <p:tags r:id="rId1"/>
                </p:custDataLst>
              </p:nvPr>
            </p:nvSpPr>
            <p:spPr bwMode="auto">
              <a:xfrm>
                <a:off x="11140646" y="2047508"/>
                <a:ext cx="504000" cy="504000"/>
              </a:xfrm>
              <a:prstGeom prst="ellipse">
                <a:avLst/>
              </a:prstGeom>
              <a:solidFill>
                <a:srgbClr val="E8498B"/>
              </a:solidFill>
              <a:ln w="28575" algn="ctr">
                <a:solidFill>
                  <a:schemeClr val="bg1"/>
                </a:solid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600" b="1">
                  <a:solidFill>
                    <a:schemeClr val="bg1"/>
                  </a:solidFill>
                </a:endParaRPr>
              </a:p>
            </p:txBody>
          </p:sp>
          <p:sp>
            <p:nvSpPr>
              <p:cNvPr id="125" name="Freeform 6">
                <a:extLst>
                  <a:ext uri="{FF2B5EF4-FFF2-40B4-BE49-F238E27FC236}">
                    <a16:creationId xmlns:a16="http://schemas.microsoft.com/office/drawing/2014/main" xmlns="" id="{AE7339D3-F59D-4DB4-8111-AEA025DBA18A}"/>
                  </a:ext>
                </a:extLst>
              </p:cNvPr>
              <p:cNvSpPr>
                <a:spLocks/>
              </p:cNvSpPr>
              <p:nvPr/>
            </p:nvSpPr>
            <p:spPr bwMode="auto">
              <a:xfrm flipV="1">
                <a:off x="11404699" y="2126180"/>
                <a:ext cx="155924" cy="117286"/>
              </a:xfrm>
              <a:custGeom>
                <a:avLst/>
                <a:gdLst/>
                <a:ahLst/>
                <a:cxnLst>
                  <a:cxn ang="0">
                    <a:pos x="389" y="1846"/>
                  </a:cxn>
                  <a:cxn ang="0">
                    <a:pos x="563" y="1811"/>
                  </a:cxn>
                  <a:cxn ang="0">
                    <a:pos x="2409" y="736"/>
                  </a:cxn>
                  <a:cxn ang="0">
                    <a:pos x="2449" y="536"/>
                  </a:cxn>
                  <a:cxn ang="0">
                    <a:pos x="2175" y="68"/>
                  </a:cxn>
                  <a:cxn ang="0">
                    <a:pos x="1988" y="37"/>
                  </a:cxn>
                  <a:cxn ang="0">
                    <a:pos x="126" y="1101"/>
                  </a:cxn>
                  <a:cxn ang="0">
                    <a:pos x="35" y="1291"/>
                  </a:cxn>
                  <a:cxn ang="0">
                    <a:pos x="265" y="1696"/>
                  </a:cxn>
                  <a:cxn ang="0">
                    <a:pos x="389" y="1846"/>
                  </a:cxn>
                </a:cxnLst>
                <a:rect l="0" t="0" r="r" b="b"/>
                <a:pathLst>
                  <a:path w="2494" h="1875">
                    <a:moveTo>
                      <a:pt x="389" y="1846"/>
                    </a:moveTo>
                    <a:cubicBezTo>
                      <a:pt x="449" y="1875"/>
                      <a:pt x="511" y="1841"/>
                      <a:pt x="563" y="1811"/>
                    </a:cubicBezTo>
                    <a:cubicBezTo>
                      <a:pt x="1177" y="1452"/>
                      <a:pt x="1796" y="1098"/>
                      <a:pt x="2409" y="736"/>
                    </a:cubicBezTo>
                    <a:cubicBezTo>
                      <a:pt x="2489" y="706"/>
                      <a:pt x="2494" y="597"/>
                      <a:pt x="2449" y="536"/>
                    </a:cubicBezTo>
                    <a:cubicBezTo>
                      <a:pt x="2355" y="382"/>
                      <a:pt x="2273" y="220"/>
                      <a:pt x="2175" y="68"/>
                    </a:cubicBezTo>
                    <a:cubicBezTo>
                      <a:pt x="2137" y="2"/>
                      <a:pt x="2048" y="0"/>
                      <a:pt x="1988" y="37"/>
                    </a:cubicBezTo>
                    <a:cubicBezTo>
                      <a:pt x="1366" y="390"/>
                      <a:pt x="747" y="746"/>
                      <a:pt x="126" y="1101"/>
                    </a:cubicBezTo>
                    <a:cubicBezTo>
                      <a:pt x="56" y="1132"/>
                      <a:pt x="0" y="1214"/>
                      <a:pt x="35" y="1291"/>
                    </a:cubicBezTo>
                    <a:cubicBezTo>
                      <a:pt x="103" y="1431"/>
                      <a:pt x="192" y="1559"/>
                      <a:pt x="265" y="1696"/>
                    </a:cubicBezTo>
                    <a:cubicBezTo>
                      <a:pt x="301" y="1750"/>
                      <a:pt x="324" y="1822"/>
                      <a:pt x="389" y="184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7">
                <a:extLst>
                  <a:ext uri="{FF2B5EF4-FFF2-40B4-BE49-F238E27FC236}">
                    <a16:creationId xmlns:a16="http://schemas.microsoft.com/office/drawing/2014/main" xmlns="" id="{60DDBDE7-0A41-4CF7-9FF1-99FF559330F4}"/>
                  </a:ext>
                </a:extLst>
              </p:cNvPr>
              <p:cNvSpPr>
                <a:spLocks/>
              </p:cNvSpPr>
              <p:nvPr/>
            </p:nvSpPr>
            <p:spPr bwMode="auto">
              <a:xfrm flipV="1">
                <a:off x="11208767" y="2181808"/>
                <a:ext cx="126876" cy="169626"/>
              </a:xfrm>
              <a:custGeom>
                <a:avLst/>
                <a:gdLst/>
                <a:ahLst/>
                <a:cxnLst>
                  <a:cxn ang="0">
                    <a:pos x="1215" y="2574"/>
                  </a:cxn>
                  <a:cxn ang="0">
                    <a:pos x="1418" y="2665"/>
                  </a:cxn>
                  <a:cxn ang="0">
                    <a:pos x="2001" y="2334"/>
                  </a:cxn>
                  <a:cxn ang="0">
                    <a:pos x="1992" y="2149"/>
                  </a:cxn>
                  <a:cxn ang="0">
                    <a:pos x="810" y="115"/>
                  </a:cxn>
                  <a:cxn ang="0">
                    <a:pos x="618" y="40"/>
                  </a:cxn>
                  <a:cxn ang="0">
                    <a:pos x="169" y="293"/>
                  </a:cxn>
                  <a:cxn ang="0">
                    <a:pos x="16" y="488"/>
                  </a:cxn>
                  <a:cxn ang="0">
                    <a:pos x="127" y="695"/>
                  </a:cxn>
                  <a:cxn ang="0">
                    <a:pos x="1215" y="2574"/>
                  </a:cxn>
                </a:cxnLst>
                <a:rect l="0" t="0" r="r" b="b"/>
                <a:pathLst>
                  <a:path w="2032" h="2710">
                    <a:moveTo>
                      <a:pt x="1215" y="2574"/>
                    </a:moveTo>
                    <a:cubicBezTo>
                      <a:pt x="1249" y="2648"/>
                      <a:pt x="1337" y="2710"/>
                      <a:pt x="1418" y="2665"/>
                    </a:cubicBezTo>
                    <a:cubicBezTo>
                      <a:pt x="1615" y="2561"/>
                      <a:pt x="1805" y="2442"/>
                      <a:pt x="2001" y="2334"/>
                    </a:cubicBezTo>
                    <a:cubicBezTo>
                      <a:pt x="2012" y="2272"/>
                      <a:pt x="2032" y="2204"/>
                      <a:pt x="1992" y="2149"/>
                    </a:cubicBezTo>
                    <a:cubicBezTo>
                      <a:pt x="1605" y="1467"/>
                      <a:pt x="1206" y="792"/>
                      <a:pt x="810" y="115"/>
                    </a:cubicBezTo>
                    <a:cubicBezTo>
                      <a:pt x="777" y="45"/>
                      <a:pt x="692" y="0"/>
                      <a:pt x="618" y="40"/>
                    </a:cubicBezTo>
                    <a:cubicBezTo>
                      <a:pt x="465" y="116"/>
                      <a:pt x="321" y="211"/>
                      <a:pt x="169" y="293"/>
                    </a:cubicBezTo>
                    <a:cubicBezTo>
                      <a:pt x="95" y="334"/>
                      <a:pt x="0" y="387"/>
                      <a:pt x="16" y="488"/>
                    </a:cubicBezTo>
                    <a:cubicBezTo>
                      <a:pt x="43" y="561"/>
                      <a:pt x="88" y="627"/>
                      <a:pt x="127" y="695"/>
                    </a:cubicBezTo>
                    <a:cubicBezTo>
                      <a:pt x="490" y="1321"/>
                      <a:pt x="852" y="1948"/>
                      <a:pt x="1215" y="2574"/>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8">
                <a:extLst>
                  <a:ext uri="{FF2B5EF4-FFF2-40B4-BE49-F238E27FC236}">
                    <a16:creationId xmlns:a16="http://schemas.microsoft.com/office/drawing/2014/main" xmlns="" id="{38856FFB-6AB1-4DA4-BE90-C1B7D95A9A65}"/>
                  </a:ext>
                </a:extLst>
              </p:cNvPr>
              <p:cNvSpPr>
                <a:spLocks/>
              </p:cNvSpPr>
              <p:nvPr/>
            </p:nvSpPr>
            <p:spPr bwMode="auto">
              <a:xfrm flipV="1">
                <a:off x="11338658" y="2187563"/>
                <a:ext cx="165241" cy="123862"/>
              </a:xfrm>
              <a:custGeom>
                <a:avLst/>
                <a:gdLst/>
                <a:ahLst/>
                <a:cxnLst>
                  <a:cxn ang="0">
                    <a:pos x="926" y="1869"/>
                  </a:cxn>
                  <a:cxn ang="0">
                    <a:pos x="1333" y="1902"/>
                  </a:cxn>
                  <a:cxn ang="0">
                    <a:pos x="2429" y="1269"/>
                  </a:cxn>
                  <a:cxn ang="0">
                    <a:pos x="2622" y="981"/>
                  </a:cxn>
                  <a:cxn ang="0">
                    <a:pos x="2393" y="439"/>
                  </a:cxn>
                  <a:cxn ang="0">
                    <a:pos x="1176" y="1136"/>
                  </a:cxn>
                  <a:cxn ang="0">
                    <a:pos x="710" y="811"/>
                  </a:cxn>
                  <a:cxn ang="0">
                    <a:pos x="543" y="170"/>
                  </a:cxn>
                  <a:cxn ang="0">
                    <a:pos x="6" y="417"/>
                  </a:cxn>
                  <a:cxn ang="0">
                    <a:pos x="50" y="1013"/>
                  </a:cxn>
                  <a:cxn ang="0">
                    <a:pos x="189" y="1266"/>
                  </a:cxn>
                  <a:cxn ang="0">
                    <a:pos x="926" y="1869"/>
                  </a:cxn>
                </a:cxnLst>
                <a:rect l="0" t="0" r="r" b="b"/>
                <a:pathLst>
                  <a:path w="2644" h="1976">
                    <a:moveTo>
                      <a:pt x="926" y="1869"/>
                    </a:moveTo>
                    <a:cubicBezTo>
                      <a:pt x="1039" y="1962"/>
                      <a:pt x="1206" y="1976"/>
                      <a:pt x="1333" y="1902"/>
                    </a:cubicBezTo>
                    <a:cubicBezTo>
                      <a:pt x="1699" y="1692"/>
                      <a:pt x="2063" y="1479"/>
                      <a:pt x="2429" y="1269"/>
                    </a:cubicBezTo>
                    <a:cubicBezTo>
                      <a:pt x="2534" y="1212"/>
                      <a:pt x="2626" y="1107"/>
                      <a:pt x="2622" y="981"/>
                    </a:cubicBezTo>
                    <a:cubicBezTo>
                      <a:pt x="2644" y="773"/>
                      <a:pt x="2483" y="612"/>
                      <a:pt x="2393" y="439"/>
                    </a:cubicBezTo>
                    <a:cubicBezTo>
                      <a:pt x="1987" y="671"/>
                      <a:pt x="1581" y="902"/>
                      <a:pt x="1176" y="1136"/>
                    </a:cubicBezTo>
                    <a:cubicBezTo>
                      <a:pt x="1020" y="1029"/>
                      <a:pt x="858" y="929"/>
                      <a:pt x="710" y="811"/>
                    </a:cubicBezTo>
                    <a:cubicBezTo>
                      <a:pt x="652" y="604"/>
                      <a:pt x="740" y="324"/>
                      <a:pt x="543" y="170"/>
                    </a:cubicBezTo>
                    <a:cubicBezTo>
                      <a:pt x="350" y="0"/>
                      <a:pt x="0" y="160"/>
                      <a:pt x="6" y="417"/>
                    </a:cubicBezTo>
                    <a:cubicBezTo>
                      <a:pt x="15" y="616"/>
                      <a:pt x="39" y="814"/>
                      <a:pt x="50" y="1013"/>
                    </a:cubicBezTo>
                    <a:cubicBezTo>
                      <a:pt x="52" y="1115"/>
                      <a:pt x="109" y="1206"/>
                      <a:pt x="189" y="1266"/>
                    </a:cubicBezTo>
                    <a:cubicBezTo>
                      <a:pt x="436" y="1465"/>
                      <a:pt x="677" y="1672"/>
                      <a:pt x="926" y="186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9">
                <a:extLst>
                  <a:ext uri="{FF2B5EF4-FFF2-40B4-BE49-F238E27FC236}">
                    <a16:creationId xmlns:a16="http://schemas.microsoft.com/office/drawing/2014/main" xmlns="" id="{DF36B15B-DA7D-49F9-94E3-8443F3901658}"/>
                  </a:ext>
                </a:extLst>
              </p:cNvPr>
              <p:cNvSpPr>
                <a:spLocks/>
              </p:cNvSpPr>
              <p:nvPr/>
            </p:nvSpPr>
            <p:spPr bwMode="auto">
              <a:xfrm flipV="1">
                <a:off x="11277001" y="2250316"/>
                <a:ext cx="250739" cy="196207"/>
              </a:xfrm>
              <a:custGeom>
                <a:avLst/>
                <a:gdLst/>
                <a:ahLst/>
                <a:cxnLst>
                  <a:cxn ang="0">
                    <a:pos x="59" y="1794"/>
                  </a:cxn>
                  <a:cxn ang="0">
                    <a:pos x="839" y="3134"/>
                  </a:cxn>
                  <a:cxn ang="0">
                    <a:pos x="898" y="2291"/>
                  </a:cxn>
                  <a:cxn ang="0">
                    <a:pos x="1659" y="2239"/>
                  </a:cxn>
                  <a:cxn ang="0">
                    <a:pos x="1828" y="2878"/>
                  </a:cxn>
                  <a:cxn ang="0">
                    <a:pos x="2150" y="3102"/>
                  </a:cxn>
                  <a:cxn ang="0">
                    <a:pos x="3822" y="2141"/>
                  </a:cxn>
                  <a:cxn ang="0">
                    <a:pos x="3996" y="1901"/>
                  </a:cxn>
                  <a:cxn ang="0">
                    <a:pos x="3671" y="1686"/>
                  </a:cxn>
                  <a:cxn ang="0">
                    <a:pos x="3181" y="1960"/>
                  </a:cxn>
                  <a:cxn ang="0">
                    <a:pos x="3088" y="1841"/>
                  </a:cxn>
                  <a:cxn ang="0">
                    <a:pos x="3619" y="1518"/>
                  </a:cxn>
                  <a:cxn ang="0">
                    <a:pos x="3403" y="1119"/>
                  </a:cxn>
                  <a:cxn ang="0">
                    <a:pos x="2841" y="1418"/>
                  </a:cxn>
                  <a:cxn ang="0">
                    <a:pos x="2753" y="1299"/>
                  </a:cxn>
                  <a:cxn ang="0">
                    <a:pos x="3270" y="993"/>
                  </a:cxn>
                  <a:cxn ang="0">
                    <a:pos x="3312" y="654"/>
                  </a:cxn>
                  <a:cxn ang="0">
                    <a:pos x="3033" y="585"/>
                  </a:cxn>
                  <a:cxn ang="0">
                    <a:pos x="2522" y="868"/>
                  </a:cxn>
                  <a:cxn ang="0">
                    <a:pos x="2453" y="744"/>
                  </a:cxn>
                  <a:cxn ang="0">
                    <a:pos x="2967" y="435"/>
                  </a:cxn>
                  <a:cxn ang="0">
                    <a:pos x="2952" y="60"/>
                  </a:cxn>
                  <a:cxn ang="0">
                    <a:pos x="2675" y="53"/>
                  </a:cxn>
                  <a:cxn ang="0">
                    <a:pos x="2118" y="374"/>
                  </a:cxn>
                  <a:cxn ang="0">
                    <a:pos x="2314" y="844"/>
                  </a:cxn>
                  <a:cxn ang="0">
                    <a:pos x="1871" y="1153"/>
                  </a:cxn>
                  <a:cxn ang="0">
                    <a:pos x="1441" y="1406"/>
                  </a:cxn>
                  <a:cxn ang="0">
                    <a:pos x="1274" y="1609"/>
                  </a:cxn>
                  <a:cxn ang="0">
                    <a:pos x="1003" y="1658"/>
                  </a:cxn>
                  <a:cxn ang="0">
                    <a:pos x="828" y="1865"/>
                  </a:cxn>
                  <a:cxn ang="0">
                    <a:pos x="371" y="1760"/>
                  </a:cxn>
                  <a:cxn ang="0">
                    <a:pos x="202" y="1474"/>
                  </a:cxn>
                  <a:cxn ang="0">
                    <a:pos x="0" y="1656"/>
                  </a:cxn>
                  <a:cxn ang="0">
                    <a:pos x="59" y="1794"/>
                  </a:cxn>
                </a:cxnLst>
                <a:rect l="0" t="0" r="r" b="b"/>
                <a:pathLst>
                  <a:path w="4011" h="3134">
                    <a:moveTo>
                      <a:pt x="59" y="1794"/>
                    </a:moveTo>
                    <a:cubicBezTo>
                      <a:pt x="322" y="2239"/>
                      <a:pt x="575" y="2690"/>
                      <a:pt x="839" y="3134"/>
                    </a:cubicBezTo>
                    <a:cubicBezTo>
                      <a:pt x="848" y="2856"/>
                      <a:pt x="714" y="2536"/>
                      <a:pt x="898" y="2291"/>
                    </a:cubicBezTo>
                    <a:cubicBezTo>
                      <a:pt x="1069" y="2047"/>
                      <a:pt x="1458" y="2017"/>
                      <a:pt x="1659" y="2239"/>
                    </a:cubicBezTo>
                    <a:cubicBezTo>
                      <a:pt x="1836" y="2403"/>
                      <a:pt x="1806" y="2661"/>
                      <a:pt x="1828" y="2878"/>
                    </a:cubicBezTo>
                    <a:cubicBezTo>
                      <a:pt x="1936" y="2951"/>
                      <a:pt x="2046" y="3023"/>
                      <a:pt x="2150" y="3102"/>
                    </a:cubicBezTo>
                    <a:cubicBezTo>
                      <a:pt x="2711" y="2788"/>
                      <a:pt x="3264" y="2459"/>
                      <a:pt x="3822" y="2141"/>
                    </a:cubicBezTo>
                    <a:cubicBezTo>
                      <a:pt x="3911" y="2093"/>
                      <a:pt x="4011" y="2015"/>
                      <a:pt x="3996" y="1901"/>
                    </a:cubicBezTo>
                    <a:cubicBezTo>
                      <a:pt x="4009" y="1738"/>
                      <a:pt x="3816" y="1615"/>
                      <a:pt x="3671" y="1686"/>
                    </a:cubicBezTo>
                    <a:cubicBezTo>
                      <a:pt x="3504" y="1771"/>
                      <a:pt x="3348" y="1876"/>
                      <a:pt x="3181" y="1960"/>
                    </a:cubicBezTo>
                    <a:cubicBezTo>
                      <a:pt x="3114" y="1997"/>
                      <a:pt x="3034" y="1897"/>
                      <a:pt x="3088" y="1841"/>
                    </a:cubicBezTo>
                    <a:cubicBezTo>
                      <a:pt x="3256" y="1719"/>
                      <a:pt x="3453" y="1642"/>
                      <a:pt x="3619" y="1518"/>
                    </a:cubicBezTo>
                    <a:cubicBezTo>
                      <a:pt x="3777" y="1366"/>
                      <a:pt x="3621" y="1066"/>
                      <a:pt x="3403" y="1119"/>
                    </a:cubicBezTo>
                    <a:cubicBezTo>
                      <a:pt x="3203" y="1191"/>
                      <a:pt x="3036" y="1333"/>
                      <a:pt x="2841" y="1418"/>
                    </a:cubicBezTo>
                    <a:cubicBezTo>
                      <a:pt x="2773" y="1427"/>
                      <a:pt x="2755" y="1350"/>
                      <a:pt x="2753" y="1299"/>
                    </a:cubicBezTo>
                    <a:cubicBezTo>
                      <a:pt x="2922" y="1190"/>
                      <a:pt x="3103" y="1103"/>
                      <a:pt x="3270" y="993"/>
                    </a:cubicBezTo>
                    <a:cubicBezTo>
                      <a:pt x="3379" y="921"/>
                      <a:pt x="3399" y="750"/>
                      <a:pt x="3312" y="654"/>
                    </a:cubicBezTo>
                    <a:cubicBezTo>
                      <a:pt x="3248" y="572"/>
                      <a:pt x="3128" y="538"/>
                      <a:pt x="3033" y="585"/>
                    </a:cubicBezTo>
                    <a:cubicBezTo>
                      <a:pt x="2858" y="670"/>
                      <a:pt x="2699" y="787"/>
                      <a:pt x="2522" y="868"/>
                    </a:cubicBezTo>
                    <a:cubicBezTo>
                      <a:pt x="2454" y="870"/>
                      <a:pt x="2417" y="799"/>
                      <a:pt x="2453" y="744"/>
                    </a:cubicBezTo>
                    <a:cubicBezTo>
                      <a:pt x="2617" y="629"/>
                      <a:pt x="2803" y="550"/>
                      <a:pt x="2967" y="435"/>
                    </a:cubicBezTo>
                    <a:cubicBezTo>
                      <a:pt x="3085" y="345"/>
                      <a:pt x="3073" y="143"/>
                      <a:pt x="2952" y="60"/>
                    </a:cubicBezTo>
                    <a:cubicBezTo>
                      <a:pt x="2872" y="0"/>
                      <a:pt x="2758" y="0"/>
                      <a:pt x="2675" y="53"/>
                    </a:cubicBezTo>
                    <a:cubicBezTo>
                      <a:pt x="2488" y="158"/>
                      <a:pt x="2303" y="267"/>
                      <a:pt x="2118" y="374"/>
                    </a:cubicBezTo>
                    <a:cubicBezTo>
                      <a:pt x="2192" y="526"/>
                      <a:pt x="2333" y="663"/>
                      <a:pt x="2314" y="844"/>
                    </a:cubicBezTo>
                    <a:cubicBezTo>
                      <a:pt x="2298" y="1054"/>
                      <a:pt x="2073" y="1202"/>
                      <a:pt x="1871" y="1153"/>
                    </a:cubicBezTo>
                    <a:cubicBezTo>
                      <a:pt x="1813" y="1330"/>
                      <a:pt x="1625" y="1443"/>
                      <a:pt x="1441" y="1406"/>
                    </a:cubicBezTo>
                    <a:cubicBezTo>
                      <a:pt x="1397" y="1482"/>
                      <a:pt x="1353" y="1564"/>
                      <a:pt x="1274" y="1609"/>
                    </a:cubicBezTo>
                    <a:cubicBezTo>
                      <a:pt x="1195" y="1666"/>
                      <a:pt x="1095" y="1655"/>
                      <a:pt x="1003" y="1658"/>
                    </a:cubicBezTo>
                    <a:cubicBezTo>
                      <a:pt x="961" y="1739"/>
                      <a:pt x="912" y="1822"/>
                      <a:pt x="828" y="1865"/>
                    </a:cubicBezTo>
                    <a:cubicBezTo>
                      <a:pt x="679" y="1959"/>
                      <a:pt x="466" y="1904"/>
                      <a:pt x="371" y="1760"/>
                    </a:cubicBezTo>
                    <a:cubicBezTo>
                      <a:pt x="309" y="1668"/>
                      <a:pt x="260" y="1568"/>
                      <a:pt x="202" y="1474"/>
                    </a:cubicBezTo>
                    <a:cubicBezTo>
                      <a:pt x="129" y="1525"/>
                      <a:pt x="16" y="1554"/>
                      <a:pt x="0" y="1656"/>
                    </a:cubicBezTo>
                    <a:cubicBezTo>
                      <a:pt x="5" y="1707"/>
                      <a:pt x="36" y="1750"/>
                      <a:pt x="59" y="1794"/>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10">
                <a:extLst>
                  <a:ext uri="{FF2B5EF4-FFF2-40B4-BE49-F238E27FC236}">
                    <a16:creationId xmlns:a16="http://schemas.microsoft.com/office/drawing/2014/main" xmlns="" id="{E8221CB4-5016-4087-962A-185200B1C10B}"/>
                  </a:ext>
                </a:extLst>
              </p:cNvPr>
              <p:cNvSpPr>
                <a:spLocks/>
              </p:cNvSpPr>
              <p:nvPr/>
            </p:nvSpPr>
            <p:spPr bwMode="auto">
              <a:xfrm flipV="1">
                <a:off x="11290702" y="2334170"/>
                <a:ext cx="41653" cy="51518"/>
              </a:xfrm>
              <a:custGeom>
                <a:avLst/>
                <a:gdLst/>
                <a:ahLst/>
                <a:cxnLst>
                  <a:cxn ang="0">
                    <a:pos x="378" y="771"/>
                  </a:cxn>
                  <a:cxn ang="0">
                    <a:pos x="622" y="545"/>
                  </a:cxn>
                  <a:cxn ang="0">
                    <a:pos x="389" y="128"/>
                  </a:cxn>
                  <a:cxn ang="0">
                    <a:pos x="52" y="160"/>
                  </a:cxn>
                  <a:cxn ang="0">
                    <a:pos x="164" y="499"/>
                  </a:cxn>
                  <a:cxn ang="0">
                    <a:pos x="378" y="771"/>
                  </a:cxn>
                </a:cxnLst>
                <a:rect l="0" t="0" r="r" b="b"/>
                <a:pathLst>
                  <a:path w="664" h="824">
                    <a:moveTo>
                      <a:pt x="378" y="771"/>
                    </a:moveTo>
                    <a:cubicBezTo>
                      <a:pt x="513" y="824"/>
                      <a:pt x="664" y="685"/>
                      <a:pt x="622" y="545"/>
                    </a:cubicBezTo>
                    <a:cubicBezTo>
                      <a:pt x="558" y="400"/>
                      <a:pt x="469" y="265"/>
                      <a:pt x="389" y="128"/>
                    </a:cubicBezTo>
                    <a:cubicBezTo>
                      <a:pt x="318" y="0"/>
                      <a:pt x="99" y="21"/>
                      <a:pt x="52" y="160"/>
                    </a:cubicBezTo>
                    <a:cubicBezTo>
                      <a:pt x="0" y="287"/>
                      <a:pt x="112" y="393"/>
                      <a:pt x="164" y="499"/>
                    </a:cubicBezTo>
                    <a:cubicBezTo>
                      <a:pt x="229" y="592"/>
                      <a:pt x="259" y="731"/>
                      <a:pt x="378" y="771"/>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11">
                <a:extLst>
                  <a:ext uri="{FF2B5EF4-FFF2-40B4-BE49-F238E27FC236}">
                    <a16:creationId xmlns:a16="http://schemas.microsoft.com/office/drawing/2014/main" xmlns="" id="{93C932CB-88CB-4313-B519-5F46549AE137}"/>
                  </a:ext>
                </a:extLst>
              </p:cNvPr>
              <p:cNvSpPr>
                <a:spLocks/>
              </p:cNvSpPr>
              <p:nvPr/>
            </p:nvSpPr>
            <p:spPr bwMode="auto">
              <a:xfrm flipV="1">
                <a:off x="11319476" y="2349242"/>
                <a:ext cx="38638" cy="52066"/>
              </a:xfrm>
              <a:custGeom>
                <a:avLst/>
                <a:gdLst/>
                <a:ahLst/>
                <a:cxnLst>
                  <a:cxn ang="0">
                    <a:pos x="303" y="744"/>
                  </a:cxn>
                  <a:cxn ang="0">
                    <a:pos x="606" y="580"/>
                  </a:cxn>
                  <a:cxn ang="0">
                    <a:pos x="440" y="251"/>
                  </a:cxn>
                  <a:cxn ang="0">
                    <a:pos x="286" y="54"/>
                  </a:cxn>
                  <a:cxn ang="0">
                    <a:pos x="17" y="195"/>
                  </a:cxn>
                  <a:cxn ang="0">
                    <a:pos x="122" y="466"/>
                  </a:cxn>
                  <a:cxn ang="0">
                    <a:pos x="303" y="744"/>
                  </a:cxn>
                </a:cxnLst>
                <a:rect l="0" t="0" r="r" b="b"/>
                <a:pathLst>
                  <a:path w="616" h="829">
                    <a:moveTo>
                      <a:pt x="303" y="744"/>
                    </a:moveTo>
                    <a:cubicBezTo>
                      <a:pt x="426" y="829"/>
                      <a:pt x="616" y="734"/>
                      <a:pt x="606" y="580"/>
                    </a:cubicBezTo>
                    <a:cubicBezTo>
                      <a:pt x="581" y="458"/>
                      <a:pt x="494" y="361"/>
                      <a:pt x="440" y="251"/>
                    </a:cubicBezTo>
                    <a:cubicBezTo>
                      <a:pt x="395" y="182"/>
                      <a:pt x="367" y="89"/>
                      <a:pt x="286" y="54"/>
                    </a:cubicBezTo>
                    <a:cubicBezTo>
                      <a:pt x="179" y="0"/>
                      <a:pt x="29" y="74"/>
                      <a:pt x="17" y="195"/>
                    </a:cubicBezTo>
                    <a:cubicBezTo>
                      <a:pt x="0" y="299"/>
                      <a:pt x="78" y="381"/>
                      <a:pt x="122" y="466"/>
                    </a:cubicBezTo>
                    <a:cubicBezTo>
                      <a:pt x="182" y="558"/>
                      <a:pt x="220" y="668"/>
                      <a:pt x="303" y="744"/>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12">
                <a:extLst>
                  <a:ext uri="{FF2B5EF4-FFF2-40B4-BE49-F238E27FC236}">
                    <a16:creationId xmlns:a16="http://schemas.microsoft.com/office/drawing/2014/main" xmlns="" id="{3D6D0272-C51B-4EA0-9A57-70D0176F9893}"/>
                  </a:ext>
                </a:extLst>
              </p:cNvPr>
              <p:cNvSpPr>
                <a:spLocks/>
              </p:cNvSpPr>
              <p:nvPr/>
            </p:nvSpPr>
            <p:spPr bwMode="auto">
              <a:xfrm flipV="1">
                <a:off x="11345509" y="2364588"/>
                <a:ext cx="41379" cy="52888"/>
              </a:xfrm>
              <a:custGeom>
                <a:avLst/>
                <a:gdLst/>
                <a:ahLst/>
                <a:cxnLst>
                  <a:cxn ang="0">
                    <a:pos x="340" y="762"/>
                  </a:cxn>
                  <a:cxn ang="0">
                    <a:pos x="618" y="556"/>
                  </a:cxn>
                  <a:cxn ang="0">
                    <a:pos x="392" y="142"/>
                  </a:cxn>
                  <a:cxn ang="0">
                    <a:pos x="44" y="173"/>
                  </a:cxn>
                  <a:cxn ang="0">
                    <a:pos x="141" y="473"/>
                  </a:cxn>
                  <a:cxn ang="0">
                    <a:pos x="340" y="762"/>
                  </a:cxn>
                </a:cxnLst>
                <a:rect l="0" t="0" r="r" b="b"/>
                <a:pathLst>
                  <a:path w="665" h="843">
                    <a:moveTo>
                      <a:pt x="340" y="762"/>
                    </a:moveTo>
                    <a:cubicBezTo>
                      <a:pt x="473" y="843"/>
                      <a:pt x="665" y="711"/>
                      <a:pt x="618" y="556"/>
                    </a:cubicBezTo>
                    <a:cubicBezTo>
                      <a:pt x="560" y="410"/>
                      <a:pt x="467" y="280"/>
                      <a:pt x="392" y="142"/>
                    </a:cubicBezTo>
                    <a:cubicBezTo>
                      <a:pt x="322" y="0"/>
                      <a:pt x="88" y="21"/>
                      <a:pt x="44" y="173"/>
                    </a:cubicBezTo>
                    <a:cubicBezTo>
                      <a:pt x="0" y="285"/>
                      <a:pt x="94" y="381"/>
                      <a:pt x="141" y="473"/>
                    </a:cubicBezTo>
                    <a:cubicBezTo>
                      <a:pt x="206" y="570"/>
                      <a:pt x="243" y="692"/>
                      <a:pt x="340" y="762"/>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3">
                <a:extLst>
                  <a:ext uri="{FF2B5EF4-FFF2-40B4-BE49-F238E27FC236}">
                    <a16:creationId xmlns:a16="http://schemas.microsoft.com/office/drawing/2014/main" xmlns="" id="{F93BA676-DF5E-499E-A9C4-F13A49F099D2}"/>
                  </a:ext>
                </a:extLst>
              </p:cNvPr>
              <p:cNvSpPr>
                <a:spLocks/>
              </p:cNvSpPr>
              <p:nvPr/>
            </p:nvSpPr>
            <p:spPr bwMode="auto">
              <a:xfrm flipV="1">
                <a:off x="11371816" y="2380755"/>
                <a:ext cx="41653" cy="51518"/>
              </a:xfrm>
              <a:custGeom>
                <a:avLst/>
                <a:gdLst/>
                <a:ahLst/>
                <a:cxnLst>
                  <a:cxn ang="0">
                    <a:pos x="348" y="747"/>
                  </a:cxn>
                  <a:cxn ang="0">
                    <a:pos x="634" y="556"/>
                  </a:cxn>
                  <a:cxn ang="0">
                    <a:pos x="402" y="124"/>
                  </a:cxn>
                  <a:cxn ang="0">
                    <a:pos x="68" y="136"/>
                  </a:cxn>
                  <a:cxn ang="0">
                    <a:pos x="164" y="476"/>
                  </a:cxn>
                  <a:cxn ang="0">
                    <a:pos x="348" y="747"/>
                  </a:cxn>
                </a:cxnLst>
                <a:rect l="0" t="0" r="r" b="b"/>
                <a:pathLst>
                  <a:path w="669" h="823">
                    <a:moveTo>
                      <a:pt x="348" y="747"/>
                    </a:moveTo>
                    <a:cubicBezTo>
                      <a:pt x="479" y="823"/>
                      <a:pt x="669" y="714"/>
                      <a:pt x="634" y="556"/>
                    </a:cubicBezTo>
                    <a:cubicBezTo>
                      <a:pt x="583" y="401"/>
                      <a:pt x="481" y="267"/>
                      <a:pt x="402" y="124"/>
                    </a:cubicBezTo>
                    <a:cubicBezTo>
                      <a:pt x="335" y="0"/>
                      <a:pt x="126" y="6"/>
                      <a:pt x="68" y="136"/>
                    </a:cubicBezTo>
                    <a:cubicBezTo>
                      <a:pt x="0" y="260"/>
                      <a:pt x="109" y="373"/>
                      <a:pt x="164" y="476"/>
                    </a:cubicBezTo>
                    <a:cubicBezTo>
                      <a:pt x="224" y="567"/>
                      <a:pt x="259" y="680"/>
                      <a:pt x="348" y="74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pic>
        <p:nvPicPr>
          <p:cNvPr id="139"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gray">
          <a:xfrm>
            <a:off x="197700" y="617699"/>
            <a:ext cx="395248" cy="395248"/>
          </a:xfrm>
          <a:prstGeom prst="rect">
            <a:avLst/>
          </a:prstGeom>
          <a:noFill/>
          <a:extLst>
            <a:ext uri="{909E8E84-426E-40DD-AFC4-6F175D3DCCD1}">
              <a14:hiddenFill xmlns:a14="http://schemas.microsoft.com/office/drawing/2010/main">
                <a:solidFill>
                  <a:srgbClr val="FFFFFF"/>
                </a:solidFill>
              </a14:hiddenFill>
            </a:ext>
          </a:extLst>
        </p:spPr>
      </p:pic>
      <p:sp>
        <p:nvSpPr>
          <p:cNvPr id="138" name="Slide Number Placeholder 3"/>
          <p:cNvSpPr txBox="1">
            <a:spLocks/>
          </p:cNvSpPr>
          <p:nvPr/>
        </p:nvSpPr>
        <p:spPr>
          <a:xfrm>
            <a:off x="195843" y="6617933"/>
            <a:ext cx="392326" cy="108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AD9179-7A6B-4268-BEB2-F3B8EB06115B}" type="slidenum">
              <a:rPr lang="en-US" sz="700" smtClean="0">
                <a:solidFill>
                  <a:srgbClr val="00BCFF"/>
                </a:solidFill>
              </a:rPr>
              <a:pPr/>
              <a:t>8</a:t>
            </a:fld>
            <a:endParaRPr lang="en-US" sz="700">
              <a:solidFill>
                <a:srgbClr val="00BCFF"/>
              </a:solidFill>
            </a:endParaRPr>
          </a:p>
        </p:txBody>
      </p:sp>
      <p:sp>
        <p:nvSpPr>
          <p:cNvPr id="140" name="Footer Placeholder 5"/>
          <p:cNvSpPr txBox="1">
            <a:spLocks/>
          </p:cNvSpPr>
          <p:nvPr/>
        </p:nvSpPr>
        <p:spPr>
          <a:xfrm>
            <a:off x="974672" y="6617933"/>
            <a:ext cx="8640000" cy="108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solidFill>
              </a:rPr>
              <a:t>/// Advancing Digital  at Bayer /// Data as an Asset Convention ///  September 2019</a:t>
            </a:r>
          </a:p>
        </p:txBody>
      </p:sp>
    </p:spTree>
    <p:extLst>
      <p:ext uri="{BB962C8B-B14F-4D97-AF65-F5344CB8AC3E}">
        <p14:creationId xmlns:p14="http://schemas.microsoft.com/office/powerpoint/2010/main" val="3983091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xmlns="" id="{2F490823-7046-4A0F-9DEF-5FF8E0857B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6">
            <a:extLst>
              <a:ext uri="{FF2B5EF4-FFF2-40B4-BE49-F238E27FC236}">
                <a16:creationId xmlns:a16="http://schemas.microsoft.com/office/drawing/2014/main" xmlns="" id="{53379B23-68A1-4307-8A03-C22BEEF67FA3}"/>
              </a:ext>
            </a:extLst>
          </p:cNvPr>
          <p:cNvSpPr/>
          <p:nvPr/>
        </p:nvSpPr>
        <p:spPr bwMode="gray">
          <a:xfrm rot="10800000" flipH="1">
            <a:off x="332638" y="2266001"/>
            <a:ext cx="11695375" cy="4142292"/>
          </a:xfrm>
          <a:prstGeom prst="rect">
            <a:avLst/>
          </a:prstGeom>
          <a:gradFill flip="none" rotWithShape="1">
            <a:gsLst>
              <a:gs pos="68000">
                <a:schemeClr val="bg2">
                  <a:lumMod val="20000"/>
                  <a:lumOff val="80000"/>
                  <a:alpha val="60000"/>
                </a:schemeClr>
              </a:gs>
              <a:gs pos="21000">
                <a:schemeClr val="accent5">
                  <a:lumMod val="20000"/>
                  <a:lumOff val="80000"/>
                  <a:alpha val="23000"/>
                </a:schemeClr>
              </a:gs>
              <a:gs pos="87000">
                <a:schemeClr val="bg1">
                  <a:shade val="100000"/>
                  <a:satMod val="115000"/>
                  <a:alpha val="63000"/>
                </a:schemeClr>
              </a:gs>
            </a:gsLst>
            <a:path path="circle">
              <a:fillToRect l="100000" b="100000"/>
            </a:path>
            <a:tileRect t="-100000" r="-100000"/>
          </a:gra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08000" rtlCol="0" anchor="ctr"/>
          <a:lstStyle/>
          <a:p>
            <a:pPr marL="171450" indent="-171450">
              <a:spcAft>
                <a:spcPts val="600"/>
              </a:spcAft>
              <a:buFont typeface="Wingdings" panose="05000000000000000000" pitchFamily="2" charset="2"/>
              <a:buChar char="§"/>
            </a:pPr>
            <a:endParaRPr lang="en-US" sz="1400" dirty="0">
              <a:solidFill>
                <a:srgbClr val="10384F"/>
              </a:solidFill>
              <a:latin typeface="Arial"/>
              <a:cs typeface="Arial"/>
            </a:endParaRPr>
          </a:p>
        </p:txBody>
      </p:sp>
      <p:sp>
        <p:nvSpPr>
          <p:cNvPr id="2" name="Fußzeilenplatzhalter 1"/>
          <p:cNvSpPr>
            <a:spLocks noGrp="1"/>
          </p:cNvSpPr>
          <p:nvPr>
            <p:ph type="ftr" sz="quarter" idx="11"/>
          </p:nvPr>
        </p:nvSpPr>
        <p:spPr/>
        <p:txBody>
          <a:bodyPr/>
          <a:lstStyle/>
          <a:p>
            <a:r>
              <a:rPr lang="en-US" dirty="0"/>
              <a:t>/// Advancing Digital  at Bayer /// Data as an Asset Convention ///  September 2019</a:t>
            </a:r>
          </a:p>
        </p:txBody>
      </p:sp>
      <p:sp>
        <p:nvSpPr>
          <p:cNvPr id="3" name="Foliennummernplatzhalter 2"/>
          <p:cNvSpPr>
            <a:spLocks noGrp="1"/>
          </p:cNvSpPr>
          <p:nvPr>
            <p:ph type="sldNum" sz="quarter" idx="12"/>
          </p:nvPr>
        </p:nvSpPr>
        <p:spPr/>
        <p:txBody>
          <a:bodyPr/>
          <a:lstStyle/>
          <a:p>
            <a:fld id="{EEAD9179-7A6B-4268-BEB2-F3B8EB06115B}" type="slidenum">
              <a:rPr lang="en-US" smtClean="0">
                <a:solidFill>
                  <a:srgbClr val="FFFFFF"/>
                </a:solidFill>
              </a:rPr>
              <a:pPr/>
              <a:t>9</a:t>
            </a:fld>
            <a:endParaRPr lang="en-US" dirty="0">
              <a:solidFill>
                <a:srgbClr val="FFFFFF"/>
              </a:solidFill>
            </a:endParaRPr>
          </a:p>
        </p:txBody>
      </p:sp>
      <p:grpSp>
        <p:nvGrpSpPr>
          <p:cNvPr id="5" name="Gruppieren 4"/>
          <p:cNvGrpSpPr/>
          <p:nvPr/>
        </p:nvGrpSpPr>
        <p:grpSpPr>
          <a:xfrm>
            <a:off x="794" y="448057"/>
            <a:ext cx="7505813" cy="774907"/>
            <a:chOff x="794" y="448056"/>
            <a:chExt cx="7506790" cy="774907"/>
          </a:xfrm>
        </p:grpSpPr>
        <p:pic>
          <p:nvPicPr>
            <p:cNvPr id="6" name="Grafik 5"/>
            <p:cNvPicPr>
              <a:picLocks noChangeAspect="1"/>
            </p:cNvPicPr>
            <p:nvPr/>
          </p:nvPicPr>
          <p:blipFill rotWithShape="1">
            <a:blip r:embed="rId6"/>
            <a:srcRect l="5695" r="-5434"/>
            <a:stretch/>
          </p:blipFill>
          <p:spPr>
            <a:xfrm>
              <a:off x="794" y="448056"/>
              <a:ext cx="7506790" cy="774907"/>
            </a:xfrm>
            <a:prstGeom prst="rect">
              <a:avLst/>
            </a:prstGeom>
          </p:spPr>
        </p:pic>
        <p:sp>
          <p:nvSpPr>
            <p:cNvPr id="7" name="Titel 2"/>
            <p:cNvSpPr txBox="1">
              <a:spLocks/>
            </p:cNvSpPr>
            <p:nvPr/>
          </p:nvSpPr>
          <p:spPr bwMode="gray">
            <a:xfrm>
              <a:off x="829470" y="525295"/>
              <a:ext cx="3475266" cy="679031"/>
            </a:xfrm>
            <a:prstGeom prst="rect">
              <a:avLst/>
            </a:prstGeom>
          </p:spPr>
          <p:txBody>
            <a:bodyPr vert="horz" lIns="0" tIns="0" rIns="0" bIns="0" rtlCol="0" anchor="ctr">
              <a:noAutofit/>
            </a:bodyPr>
            <a:lstStyle>
              <a:lvl1pPr algn="l" defTabSz="914397" rtl="0" eaLnBrk="1" latinLnBrk="0" hangingPunct="1">
                <a:spcBef>
                  <a:spcPct val="0"/>
                </a:spcBef>
                <a:buNone/>
                <a:defRPr lang="en-US" sz="2800" b="0" kern="1200" dirty="0">
                  <a:solidFill>
                    <a:schemeClr val="accent2"/>
                  </a:solidFill>
                  <a:latin typeface="+mj-lt"/>
                  <a:ea typeface="+mj-ea"/>
                  <a:cs typeface="+mj-cs"/>
                </a:defRPr>
              </a:lvl1pPr>
            </a:lstStyle>
            <a:p>
              <a:pPr>
                <a:lnSpc>
                  <a:spcPct val="60000"/>
                </a:lnSpc>
              </a:pPr>
              <a:r>
                <a:rPr lang="en-US" sz="2400" i="1" dirty="0">
                  <a:solidFill>
                    <a:srgbClr val="FFFFFF"/>
                  </a:solidFill>
                  <a:latin typeface="Arial"/>
                  <a:cs typeface="Arial"/>
                </a:rPr>
                <a:t>Data Learning Journeys</a:t>
              </a:r>
            </a:p>
          </p:txBody>
        </p:sp>
        <p:grpSp>
          <p:nvGrpSpPr>
            <p:cNvPr id="8" name="Group 219"/>
            <p:cNvGrpSpPr>
              <a:grpSpLocks noChangeAspect="1"/>
            </p:cNvGrpSpPr>
            <p:nvPr/>
          </p:nvGrpSpPr>
          <p:grpSpPr bwMode="gray">
            <a:xfrm>
              <a:off x="198494" y="617323"/>
              <a:ext cx="395248" cy="396000"/>
              <a:chOff x="6936" y="180"/>
              <a:chExt cx="526" cy="527"/>
            </a:xfrm>
            <a:solidFill>
              <a:schemeClr val="bg1"/>
            </a:solidFill>
          </p:grpSpPr>
          <p:sp>
            <p:nvSpPr>
              <p:cNvPr id="9"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0"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1"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2"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3"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4"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5"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6"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7"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sp>
            <p:nvSpPr>
              <p:cNvPr id="18"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dirty="0">
                  <a:solidFill>
                    <a:prstClr val="black"/>
                  </a:solidFill>
                  <a:latin typeface="Arial"/>
                  <a:cs typeface="Arial"/>
                </a:endParaRPr>
              </a:p>
            </p:txBody>
          </p:sp>
        </p:grpSp>
      </p:grpSp>
      <p:grpSp>
        <p:nvGrpSpPr>
          <p:cNvPr id="28" name="Gruppieren 27"/>
          <p:cNvGrpSpPr/>
          <p:nvPr/>
        </p:nvGrpSpPr>
        <p:grpSpPr>
          <a:xfrm>
            <a:off x="11475719" y="967956"/>
            <a:ext cx="529911" cy="261693"/>
            <a:chOff x="11477213" y="967955"/>
            <a:chExt cx="529980" cy="261693"/>
          </a:xfrm>
        </p:grpSpPr>
        <p:grpSp>
          <p:nvGrpSpPr>
            <p:cNvPr id="29" name="Group 265"/>
            <p:cNvGrpSpPr>
              <a:grpSpLocks noChangeAspect="1"/>
            </p:cNvGrpSpPr>
            <p:nvPr/>
          </p:nvGrpSpPr>
          <p:grpSpPr bwMode="gray">
            <a:xfrm rot="5400000">
              <a:off x="11611356" y="833812"/>
              <a:ext cx="261693" cy="529980"/>
              <a:chOff x="-208" y="2611"/>
              <a:chExt cx="138" cy="278"/>
            </a:xfrm>
            <a:solidFill>
              <a:schemeClr val="accent2"/>
            </a:solidFill>
          </p:grpSpPr>
          <p:sp>
            <p:nvSpPr>
              <p:cNvPr id="31" name="Freeform 266"/>
              <p:cNvSpPr>
                <a:spLocks noChangeAspect="1" noEditPoints="1"/>
              </p:cNvSpPr>
              <p:nvPr/>
            </p:nvSpPr>
            <p:spPr bwMode="gray">
              <a:xfrm>
                <a:off x="-208" y="2611"/>
                <a:ext cx="138" cy="278"/>
              </a:xfrm>
              <a:custGeom>
                <a:avLst/>
                <a:gdLst>
                  <a:gd name="T0" fmla="*/ 44 w 58"/>
                  <a:gd name="T1" fmla="*/ 0 h 114"/>
                  <a:gd name="T2" fmla="*/ 14 w 58"/>
                  <a:gd name="T3" fmla="*/ 0 h 114"/>
                  <a:gd name="T4" fmla="*/ 0 w 58"/>
                  <a:gd name="T5" fmla="*/ 15 h 114"/>
                  <a:gd name="T6" fmla="*/ 0 w 58"/>
                  <a:gd name="T7" fmla="*/ 99 h 114"/>
                  <a:gd name="T8" fmla="*/ 14 w 58"/>
                  <a:gd name="T9" fmla="*/ 114 h 114"/>
                  <a:gd name="T10" fmla="*/ 44 w 58"/>
                  <a:gd name="T11" fmla="*/ 114 h 114"/>
                  <a:gd name="T12" fmla="*/ 58 w 58"/>
                  <a:gd name="T13" fmla="*/ 99 h 114"/>
                  <a:gd name="T14" fmla="*/ 58 w 58"/>
                  <a:gd name="T15" fmla="*/ 15 h 114"/>
                  <a:gd name="T16" fmla="*/ 44 w 58"/>
                  <a:gd name="T17" fmla="*/ 0 h 114"/>
                  <a:gd name="T18" fmla="*/ 50 w 58"/>
                  <a:gd name="T19" fmla="*/ 99 h 114"/>
                  <a:gd name="T20" fmla="*/ 44 w 58"/>
                  <a:gd name="T21" fmla="*/ 106 h 114"/>
                  <a:gd name="T22" fmla="*/ 14 w 58"/>
                  <a:gd name="T23" fmla="*/ 106 h 114"/>
                  <a:gd name="T24" fmla="*/ 8 w 58"/>
                  <a:gd name="T25" fmla="*/ 99 h 114"/>
                  <a:gd name="T26" fmla="*/ 8 w 58"/>
                  <a:gd name="T27" fmla="*/ 15 h 114"/>
                  <a:gd name="T28" fmla="*/ 14 w 58"/>
                  <a:gd name="T29" fmla="*/ 8 h 114"/>
                  <a:gd name="T30" fmla="*/ 44 w 58"/>
                  <a:gd name="T31" fmla="*/ 8 h 114"/>
                  <a:gd name="T32" fmla="*/ 44 w 58"/>
                  <a:gd name="T33" fmla="*/ 8 h 114"/>
                  <a:gd name="T34" fmla="*/ 50 w 58"/>
                  <a:gd name="T35" fmla="*/ 15 h 114"/>
                  <a:gd name="T36" fmla="*/ 50 w 58"/>
                  <a:gd name="T37"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114">
                    <a:moveTo>
                      <a:pt x="44" y="0"/>
                    </a:moveTo>
                    <a:cubicBezTo>
                      <a:pt x="14" y="0"/>
                      <a:pt x="14" y="0"/>
                      <a:pt x="14" y="0"/>
                    </a:cubicBezTo>
                    <a:cubicBezTo>
                      <a:pt x="6" y="0"/>
                      <a:pt x="0" y="7"/>
                      <a:pt x="0" y="15"/>
                    </a:cubicBezTo>
                    <a:cubicBezTo>
                      <a:pt x="0" y="99"/>
                      <a:pt x="0" y="99"/>
                      <a:pt x="0" y="99"/>
                    </a:cubicBezTo>
                    <a:cubicBezTo>
                      <a:pt x="0" y="107"/>
                      <a:pt x="6" y="114"/>
                      <a:pt x="14" y="114"/>
                    </a:cubicBezTo>
                    <a:cubicBezTo>
                      <a:pt x="44" y="114"/>
                      <a:pt x="44" y="114"/>
                      <a:pt x="44" y="114"/>
                    </a:cubicBezTo>
                    <a:cubicBezTo>
                      <a:pt x="52" y="114"/>
                      <a:pt x="58" y="107"/>
                      <a:pt x="58" y="99"/>
                    </a:cubicBezTo>
                    <a:cubicBezTo>
                      <a:pt x="58" y="15"/>
                      <a:pt x="58" y="15"/>
                      <a:pt x="58" y="15"/>
                    </a:cubicBezTo>
                    <a:cubicBezTo>
                      <a:pt x="58" y="7"/>
                      <a:pt x="52" y="0"/>
                      <a:pt x="44" y="0"/>
                    </a:cubicBezTo>
                    <a:close/>
                    <a:moveTo>
                      <a:pt x="50" y="99"/>
                    </a:moveTo>
                    <a:cubicBezTo>
                      <a:pt x="50" y="104"/>
                      <a:pt x="47" y="106"/>
                      <a:pt x="44" y="106"/>
                    </a:cubicBezTo>
                    <a:cubicBezTo>
                      <a:pt x="14" y="106"/>
                      <a:pt x="14" y="106"/>
                      <a:pt x="14" y="106"/>
                    </a:cubicBezTo>
                    <a:cubicBezTo>
                      <a:pt x="11" y="106"/>
                      <a:pt x="8" y="104"/>
                      <a:pt x="8" y="99"/>
                    </a:cubicBezTo>
                    <a:cubicBezTo>
                      <a:pt x="8" y="15"/>
                      <a:pt x="8" y="15"/>
                      <a:pt x="8" y="15"/>
                    </a:cubicBezTo>
                    <a:cubicBezTo>
                      <a:pt x="8" y="11"/>
                      <a:pt x="11" y="8"/>
                      <a:pt x="14" y="8"/>
                    </a:cubicBezTo>
                    <a:cubicBezTo>
                      <a:pt x="44" y="8"/>
                      <a:pt x="44" y="8"/>
                      <a:pt x="44" y="8"/>
                    </a:cubicBezTo>
                    <a:cubicBezTo>
                      <a:pt x="44" y="8"/>
                      <a:pt x="44" y="8"/>
                      <a:pt x="44" y="8"/>
                    </a:cubicBezTo>
                    <a:cubicBezTo>
                      <a:pt x="47" y="8"/>
                      <a:pt x="50" y="11"/>
                      <a:pt x="50" y="15"/>
                    </a:cubicBezTo>
                    <a:lnTo>
                      <a:pt x="50"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68"/>
              <p:cNvSpPr>
                <a:spLocks noChangeAspect="1"/>
              </p:cNvSpPr>
              <p:nvPr/>
            </p:nvSpPr>
            <p:spPr bwMode="gray">
              <a:xfrm>
                <a:off x="-182" y="2661"/>
                <a:ext cx="86" cy="173"/>
              </a:xfrm>
              <a:custGeom>
                <a:avLst/>
                <a:gdLst>
                  <a:gd name="T0" fmla="*/ 36 w 36"/>
                  <a:gd name="T1" fmla="*/ 0 h 73"/>
                  <a:gd name="T2" fmla="*/ 36 w 36"/>
                  <a:gd name="T3" fmla="*/ 0 h 73"/>
                  <a:gd name="T4" fmla="*/ 0 w 36"/>
                  <a:gd name="T5" fmla="*/ 35 h 73"/>
                  <a:gd name="T6" fmla="*/ 0 w 36"/>
                  <a:gd name="T7" fmla="*/ 71 h 73"/>
                  <a:gd name="T8" fmla="*/ 0 w 36"/>
                  <a:gd name="T9" fmla="*/ 73 h 73"/>
                  <a:gd name="T10" fmla="*/ 36 w 36"/>
                  <a:gd name="T11" fmla="*/ 38 h 73"/>
                  <a:gd name="T12" fmla="*/ 36 w 36"/>
                  <a:gd name="T13" fmla="*/ 0 h 73"/>
                </a:gdLst>
                <a:ahLst/>
                <a:cxnLst>
                  <a:cxn ang="0">
                    <a:pos x="T0" y="T1"/>
                  </a:cxn>
                  <a:cxn ang="0">
                    <a:pos x="T2" y="T3"/>
                  </a:cxn>
                  <a:cxn ang="0">
                    <a:pos x="T4" y="T5"/>
                  </a:cxn>
                  <a:cxn ang="0">
                    <a:pos x="T6" y="T7"/>
                  </a:cxn>
                  <a:cxn ang="0">
                    <a:pos x="T8" y="T9"/>
                  </a:cxn>
                  <a:cxn ang="0">
                    <a:pos x="T10" y="T11"/>
                  </a:cxn>
                  <a:cxn ang="0">
                    <a:pos x="T12" y="T13"/>
                  </a:cxn>
                </a:cxnLst>
                <a:rect l="0" t="0" r="r" b="b"/>
                <a:pathLst>
                  <a:path w="36" h="73">
                    <a:moveTo>
                      <a:pt x="36" y="0"/>
                    </a:moveTo>
                    <a:cubicBezTo>
                      <a:pt x="36" y="0"/>
                      <a:pt x="36" y="0"/>
                      <a:pt x="36" y="0"/>
                    </a:cubicBezTo>
                    <a:cubicBezTo>
                      <a:pt x="0" y="35"/>
                      <a:pt x="0" y="35"/>
                      <a:pt x="0" y="35"/>
                    </a:cubicBezTo>
                    <a:cubicBezTo>
                      <a:pt x="0" y="71"/>
                      <a:pt x="0" y="71"/>
                      <a:pt x="0" y="71"/>
                    </a:cubicBezTo>
                    <a:cubicBezTo>
                      <a:pt x="0" y="71"/>
                      <a:pt x="0" y="72"/>
                      <a:pt x="0" y="73"/>
                    </a:cubicBezTo>
                    <a:cubicBezTo>
                      <a:pt x="36" y="38"/>
                      <a:pt x="36" y="38"/>
                      <a:pt x="36" y="38"/>
                    </a:cubicBezTo>
                    <a:lnTo>
                      <a:pt x="36" y="0"/>
                    </a:lnTo>
                    <a:close/>
                  </a:path>
                </a:pathLst>
              </a:custGeom>
              <a:solidFill>
                <a:srgbClr val="89D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69"/>
              <p:cNvSpPr>
                <a:spLocks noChangeAspect="1"/>
              </p:cNvSpPr>
              <p:nvPr/>
            </p:nvSpPr>
            <p:spPr bwMode="gray">
              <a:xfrm>
                <a:off x="-182" y="2760"/>
                <a:ext cx="86" cy="100"/>
              </a:xfrm>
              <a:custGeom>
                <a:avLst/>
                <a:gdLst>
                  <a:gd name="T0" fmla="*/ 0 w 36"/>
                  <a:gd name="T1" fmla="*/ 35 h 42"/>
                  <a:gd name="T2" fmla="*/ 7 w 36"/>
                  <a:gd name="T3" fmla="*/ 42 h 42"/>
                  <a:gd name="T4" fmla="*/ 29 w 36"/>
                  <a:gd name="T5" fmla="*/ 42 h 42"/>
                  <a:gd name="T6" fmla="*/ 36 w 36"/>
                  <a:gd name="T7" fmla="*/ 33 h 42"/>
                  <a:gd name="T8" fmla="*/ 36 w 36"/>
                  <a:gd name="T9" fmla="*/ 0 h 42"/>
                  <a:gd name="T10" fmla="*/ 0 w 36"/>
                  <a:gd name="T11" fmla="*/ 35 h 42"/>
                </a:gdLst>
                <a:ahLst/>
                <a:cxnLst>
                  <a:cxn ang="0">
                    <a:pos x="T0" y="T1"/>
                  </a:cxn>
                  <a:cxn ang="0">
                    <a:pos x="T2" y="T3"/>
                  </a:cxn>
                  <a:cxn ang="0">
                    <a:pos x="T4" y="T5"/>
                  </a:cxn>
                  <a:cxn ang="0">
                    <a:pos x="T6" y="T7"/>
                  </a:cxn>
                  <a:cxn ang="0">
                    <a:pos x="T8" y="T9"/>
                  </a:cxn>
                  <a:cxn ang="0">
                    <a:pos x="T10" y="T11"/>
                  </a:cxn>
                </a:cxnLst>
                <a:rect l="0" t="0" r="r" b="b"/>
                <a:pathLst>
                  <a:path w="36" h="42">
                    <a:moveTo>
                      <a:pt x="0" y="35"/>
                    </a:moveTo>
                    <a:cubicBezTo>
                      <a:pt x="1" y="39"/>
                      <a:pt x="4" y="42"/>
                      <a:pt x="7" y="42"/>
                    </a:cubicBezTo>
                    <a:cubicBezTo>
                      <a:pt x="29" y="42"/>
                      <a:pt x="29" y="42"/>
                      <a:pt x="29" y="42"/>
                    </a:cubicBezTo>
                    <a:cubicBezTo>
                      <a:pt x="33" y="42"/>
                      <a:pt x="36" y="38"/>
                      <a:pt x="36" y="33"/>
                    </a:cubicBezTo>
                    <a:cubicBezTo>
                      <a:pt x="36" y="0"/>
                      <a:pt x="36" y="0"/>
                      <a:pt x="36" y="0"/>
                    </a:cubicBezTo>
                    <a:lnTo>
                      <a:pt x="0" y="35"/>
                    </a:lnTo>
                    <a:close/>
                  </a:path>
                </a:pathLst>
              </a:custGeom>
              <a:solidFill>
                <a:srgbClr val="89D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Freeform 269"/>
            <p:cNvSpPr>
              <a:spLocks noChangeAspect="1"/>
            </p:cNvSpPr>
            <p:nvPr/>
          </p:nvSpPr>
          <p:spPr bwMode="gray">
            <a:xfrm rot="16200000">
              <a:off x="11782117" y="1003371"/>
              <a:ext cx="157496" cy="184108"/>
            </a:xfrm>
            <a:custGeom>
              <a:avLst/>
              <a:gdLst>
                <a:gd name="T0" fmla="*/ 0 w 36"/>
                <a:gd name="T1" fmla="*/ 35 h 42"/>
                <a:gd name="T2" fmla="*/ 7 w 36"/>
                <a:gd name="T3" fmla="*/ 42 h 42"/>
                <a:gd name="T4" fmla="*/ 29 w 36"/>
                <a:gd name="T5" fmla="*/ 42 h 42"/>
                <a:gd name="T6" fmla="*/ 36 w 36"/>
                <a:gd name="T7" fmla="*/ 33 h 42"/>
                <a:gd name="T8" fmla="*/ 36 w 36"/>
                <a:gd name="T9" fmla="*/ 0 h 42"/>
                <a:gd name="T10" fmla="*/ 0 w 36"/>
                <a:gd name="T11" fmla="*/ 35 h 42"/>
              </a:gdLst>
              <a:ahLst/>
              <a:cxnLst>
                <a:cxn ang="0">
                  <a:pos x="T0" y="T1"/>
                </a:cxn>
                <a:cxn ang="0">
                  <a:pos x="T2" y="T3"/>
                </a:cxn>
                <a:cxn ang="0">
                  <a:pos x="T4" y="T5"/>
                </a:cxn>
                <a:cxn ang="0">
                  <a:pos x="T6" y="T7"/>
                </a:cxn>
                <a:cxn ang="0">
                  <a:pos x="T8" y="T9"/>
                </a:cxn>
                <a:cxn ang="0">
                  <a:pos x="T10" y="T11"/>
                </a:cxn>
              </a:cxnLst>
              <a:rect l="0" t="0" r="r" b="b"/>
              <a:pathLst>
                <a:path w="36" h="42">
                  <a:moveTo>
                    <a:pt x="0" y="35"/>
                  </a:moveTo>
                  <a:cubicBezTo>
                    <a:pt x="1" y="39"/>
                    <a:pt x="4" y="42"/>
                    <a:pt x="7" y="42"/>
                  </a:cubicBezTo>
                  <a:cubicBezTo>
                    <a:pt x="29" y="42"/>
                    <a:pt x="29" y="42"/>
                    <a:pt x="29" y="42"/>
                  </a:cubicBezTo>
                  <a:cubicBezTo>
                    <a:pt x="33" y="42"/>
                    <a:pt x="36" y="38"/>
                    <a:pt x="36" y="33"/>
                  </a:cubicBezTo>
                  <a:cubicBezTo>
                    <a:pt x="36" y="0"/>
                    <a:pt x="36" y="0"/>
                    <a:pt x="36" y="0"/>
                  </a:cubicBezTo>
                  <a:lnTo>
                    <a:pt x="0" y="35"/>
                  </a:lnTo>
                  <a:close/>
                </a:path>
              </a:pathLst>
            </a:custGeom>
            <a:solidFill>
              <a:srgbClr val="89D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4" name="Text Placeholder 17"/>
          <p:cNvSpPr txBox="1">
            <a:spLocks/>
          </p:cNvSpPr>
          <p:nvPr/>
        </p:nvSpPr>
        <p:spPr bwMode="gray">
          <a:xfrm>
            <a:off x="10080237" y="369126"/>
            <a:ext cx="2111651" cy="534432"/>
          </a:xfrm>
          <a:prstGeom prst="rect">
            <a:avLst/>
          </a:prstGeom>
        </p:spPr>
        <p:txBody>
          <a:bodyPr wrap="square" lIns="0" tIns="0" rIns="180000" bIns="0" anchor="b">
            <a:noAutofit/>
          </a:bodyP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algn="r">
              <a:lnSpc>
                <a:spcPct val="80000"/>
              </a:lnSpc>
              <a:buClr>
                <a:srgbClr val="00BCFF"/>
              </a:buClr>
            </a:pPr>
            <a:r>
              <a:rPr lang="en-US" sz="2000" b="1" cap="all" dirty="0">
                <a:solidFill>
                  <a:schemeClr val="accent1">
                    <a:lumMod val="10000"/>
                    <a:lumOff val="90000"/>
                  </a:schemeClr>
                </a:solidFill>
                <a:latin typeface="Arial Black" panose="020B0A04020102020204" pitchFamily="34" charset="0"/>
              </a:rPr>
              <a:t>For</a:t>
            </a:r>
          </a:p>
          <a:p>
            <a:pPr algn="r">
              <a:lnSpc>
                <a:spcPct val="80000"/>
              </a:lnSpc>
              <a:buClr>
                <a:srgbClr val="00BCFF"/>
              </a:buClr>
            </a:pPr>
            <a:r>
              <a:rPr lang="en-US" sz="2000" b="1" cap="all" dirty="0">
                <a:solidFill>
                  <a:schemeClr val="accent1">
                    <a:lumMod val="10000"/>
                    <a:lumOff val="90000"/>
                  </a:schemeClr>
                </a:solidFill>
                <a:latin typeface="Arial Black" panose="020B0A04020102020204" pitchFamily="34" charset="0"/>
              </a:rPr>
              <a:t>Everyone</a:t>
            </a:r>
          </a:p>
        </p:txBody>
      </p:sp>
      <p:sp>
        <p:nvSpPr>
          <p:cNvPr id="35" name="Text Placeholder 17"/>
          <p:cNvSpPr txBox="1">
            <a:spLocks/>
          </p:cNvSpPr>
          <p:nvPr/>
        </p:nvSpPr>
        <p:spPr bwMode="gray">
          <a:xfrm>
            <a:off x="9986759" y="967955"/>
            <a:ext cx="1593766" cy="291552"/>
          </a:xfrm>
          <a:prstGeom prst="rect">
            <a:avLst/>
          </a:prstGeom>
        </p:spPr>
        <p:txBody>
          <a:bodyPr wrap="square" lIns="0" tIns="0" rIns="180000" bIns="0" anchor="ctr">
            <a:noAutofit/>
          </a:bodyP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algn="r">
              <a:lnSpc>
                <a:spcPct val="80000"/>
              </a:lnSpc>
              <a:buClr>
                <a:srgbClr val="00BCFF"/>
              </a:buClr>
            </a:pPr>
            <a:r>
              <a:rPr lang="en-US" b="1" cap="all" dirty="0">
                <a:solidFill>
                  <a:schemeClr val="accent1">
                    <a:lumMod val="10000"/>
                    <a:lumOff val="90000"/>
                  </a:schemeClr>
                </a:solidFill>
                <a:latin typeface="Arial Black" panose="020B0A04020102020204" pitchFamily="34" charset="0"/>
              </a:rPr>
              <a:t>Ready to use</a:t>
            </a:r>
          </a:p>
        </p:txBody>
      </p:sp>
      <p:sp>
        <p:nvSpPr>
          <p:cNvPr id="37" name="Titel 2"/>
          <p:cNvSpPr txBox="1">
            <a:spLocks/>
          </p:cNvSpPr>
          <p:nvPr/>
        </p:nvSpPr>
        <p:spPr bwMode="gray">
          <a:xfrm>
            <a:off x="377004" y="1237659"/>
            <a:ext cx="10426407" cy="930508"/>
          </a:xfrm>
          <a:prstGeom prst="rect">
            <a:avLst/>
          </a:prstGeom>
        </p:spPr>
        <p:txBody>
          <a:bodyPr vert="horz" lIns="0" tIns="0" rIns="0" bIns="0" rtlCol="0" anchor="b">
            <a:noAutofit/>
          </a:bodyPr>
          <a:lstStyle>
            <a:lvl1pPr algn="l" defTabSz="914397" rtl="0" eaLnBrk="1" latinLnBrk="0" hangingPunct="1">
              <a:spcBef>
                <a:spcPct val="0"/>
              </a:spcBef>
              <a:buNone/>
              <a:defRPr lang="en-US" sz="2800" b="0" kern="1200" dirty="0">
                <a:solidFill>
                  <a:schemeClr val="accent2"/>
                </a:solidFill>
                <a:latin typeface="+mj-lt"/>
                <a:ea typeface="+mj-ea"/>
                <a:cs typeface="+mj-cs"/>
              </a:defRPr>
            </a:lvl1pPr>
          </a:lstStyle>
          <a:p>
            <a:pPr>
              <a:lnSpc>
                <a:spcPct val="80000"/>
              </a:lnSpc>
            </a:pPr>
            <a:r>
              <a:rPr lang="en-US" sz="2000" b="1" cap="all" dirty="0">
                <a:solidFill>
                  <a:schemeClr val="accent1">
                    <a:lumMod val="10000"/>
                    <a:lumOff val="90000"/>
                  </a:schemeClr>
                </a:solidFill>
                <a:latin typeface="Arial Black" panose="020B0A04020102020204" pitchFamily="34" charset="0"/>
                <a:ea typeface="+mn-ea"/>
                <a:cs typeface="+mn-cs"/>
              </a:rPr>
              <a:t>24/7 access to online trainings &amp; resources through the e-learning program and Bayer specific masterclasses</a:t>
            </a:r>
            <a:endParaRPr lang="en-US" sz="2000" b="1" cap="all" dirty="0">
              <a:solidFill>
                <a:schemeClr val="accent1">
                  <a:lumMod val="10000"/>
                  <a:lumOff val="90000"/>
                </a:schemeClr>
              </a:solidFill>
              <a:latin typeface="Arial Black" panose="020B0A04020102020204" pitchFamily="34" charset="0"/>
              <a:ea typeface="+mn-ea"/>
              <a:cs typeface="+mn-cs"/>
            </a:endParaRPr>
          </a:p>
        </p:txBody>
      </p:sp>
      <p:grpSp>
        <p:nvGrpSpPr>
          <p:cNvPr id="4" name="Gruppieren 3"/>
          <p:cNvGrpSpPr/>
          <p:nvPr/>
        </p:nvGrpSpPr>
        <p:grpSpPr>
          <a:xfrm>
            <a:off x="5066498" y="2266001"/>
            <a:ext cx="4985998" cy="4763399"/>
            <a:chOff x="4633122" y="2266000"/>
            <a:chExt cx="4986647" cy="4763399"/>
          </a:xfrm>
        </p:grpSpPr>
        <p:grpSp>
          <p:nvGrpSpPr>
            <p:cNvPr id="39" name="Gruppieren 4">
              <a:extLst>
                <a:ext uri="{FF2B5EF4-FFF2-40B4-BE49-F238E27FC236}">
                  <a16:creationId xmlns:a16="http://schemas.microsoft.com/office/drawing/2014/main" xmlns="" id="{92AA43E2-18A9-491E-B49B-9484DCD86E6C}"/>
                </a:ext>
              </a:extLst>
            </p:cNvPr>
            <p:cNvGrpSpPr/>
            <p:nvPr/>
          </p:nvGrpSpPr>
          <p:grpSpPr bwMode="gray">
            <a:xfrm>
              <a:off x="4633122" y="2266000"/>
              <a:ext cx="4986647" cy="4763399"/>
              <a:chOff x="1489893" y="2056363"/>
              <a:chExt cx="6637227" cy="4800051"/>
            </a:xfrm>
          </p:grpSpPr>
          <p:pic>
            <p:nvPicPr>
              <p:cNvPr id="40" name="Picture 2" descr="C:\Users\bastian.k\Desktop\straße.png">
                <a:extLst>
                  <a:ext uri="{FF2B5EF4-FFF2-40B4-BE49-F238E27FC236}">
                    <a16:creationId xmlns:a16="http://schemas.microsoft.com/office/drawing/2014/main" xmlns="" id="{CEBE7BA8-90EA-40DE-9473-BEF577C2DD47}"/>
                  </a:ext>
                </a:extLst>
              </p:cNvPr>
              <p:cNvPicPr>
                <a:picLocks noChangeAspect="1" noChangeArrowheads="1"/>
              </p:cNvPicPr>
              <p:nvPr/>
            </p:nvPicPr>
            <p:blipFill>
              <a:blip r:embed="rId7" cstate="print"/>
              <a:srcRect t="889" b="26130"/>
              <a:stretch>
                <a:fillRect/>
              </a:stretch>
            </p:blipFill>
            <p:spPr bwMode="gray">
              <a:xfrm>
                <a:off x="1489893" y="2505076"/>
                <a:ext cx="6637227" cy="4351338"/>
              </a:xfrm>
              <a:prstGeom prst="rect">
                <a:avLst/>
              </a:prstGeom>
              <a:noFill/>
              <a:effectLst>
                <a:outerShdw blurRad="76200" dist="38100" dir="5400000" algn="t" rotWithShape="0">
                  <a:prstClr val="black">
                    <a:alpha val="59000"/>
                  </a:prstClr>
                </a:outerShdw>
              </a:effectLst>
            </p:spPr>
          </p:pic>
          <p:cxnSp>
            <p:nvCxnSpPr>
              <p:cNvPr id="62" name="Gerade Verbindung 19">
                <a:extLst>
                  <a:ext uri="{FF2B5EF4-FFF2-40B4-BE49-F238E27FC236}">
                    <a16:creationId xmlns:a16="http://schemas.microsoft.com/office/drawing/2014/main" xmlns="" id="{B9B04DCE-F010-4B92-AF9F-5041C8E86F31}"/>
                  </a:ext>
                </a:extLst>
              </p:cNvPr>
              <p:cNvCxnSpPr/>
              <p:nvPr/>
            </p:nvCxnSpPr>
            <p:spPr bwMode="gray">
              <a:xfrm flipH="1">
                <a:off x="3164740" y="2333257"/>
                <a:ext cx="959344" cy="0"/>
              </a:xfrm>
              <a:prstGeom prst="line">
                <a:avLst/>
              </a:prstGeom>
              <a:noFill/>
              <a:ln w="19050">
                <a:solidFill>
                  <a:schemeClr val="bg1">
                    <a:lumMod val="85000"/>
                  </a:schemeClr>
                </a:solidFill>
                <a:prstDash val="dash"/>
                <a:round/>
                <a:headEnd/>
                <a:tailEnd/>
              </a:ln>
              <a:effectLst/>
            </p:spPr>
          </p:cxnSp>
          <p:cxnSp>
            <p:nvCxnSpPr>
              <p:cNvPr id="42" name="Gerade Verbindung 16">
                <a:extLst>
                  <a:ext uri="{FF2B5EF4-FFF2-40B4-BE49-F238E27FC236}">
                    <a16:creationId xmlns:a16="http://schemas.microsoft.com/office/drawing/2014/main" xmlns="" id="{B4D9F52E-9805-49D5-9A12-D67BDAF4A9E6}"/>
                  </a:ext>
                </a:extLst>
              </p:cNvPr>
              <p:cNvCxnSpPr/>
              <p:nvPr/>
            </p:nvCxnSpPr>
            <p:spPr bwMode="gray">
              <a:xfrm flipH="1" flipV="1">
                <a:off x="2742499" y="3322122"/>
                <a:ext cx="2407388" cy="21772"/>
              </a:xfrm>
              <a:prstGeom prst="line">
                <a:avLst/>
              </a:prstGeom>
              <a:noFill/>
              <a:ln w="19050">
                <a:solidFill>
                  <a:schemeClr val="bg1">
                    <a:lumMod val="85000"/>
                  </a:schemeClr>
                </a:solidFill>
                <a:prstDash val="dash"/>
                <a:round/>
                <a:headEnd/>
                <a:tailEnd/>
              </a:ln>
              <a:effectLst/>
            </p:spPr>
          </p:cxnSp>
          <p:cxnSp>
            <p:nvCxnSpPr>
              <p:cNvPr id="45" name="Gerade Verbindung 13">
                <a:extLst>
                  <a:ext uri="{FF2B5EF4-FFF2-40B4-BE49-F238E27FC236}">
                    <a16:creationId xmlns:a16="http://schemas.microsoft.com/office/drawing/2014/main" xmlns="" id="{4EFC7CD1-8A8F-4CBF-9DC7-F257DDEB32C2}"/>
                  </a:ext>
                </a:extLst>
              </p:cNvPr>
              <p:cNvCxnSpPr>
                <a:cxnSpLocks/>
              </p:cNvCxnSpPr>
              <p:nvPr/>
            </p:nvCxnSpPr>
            <p:spPr bwMode="gray">
              <a:xfrm flipH="1">
                <a:off x="4395410" y="5114925"/>
                <a:ext cx="1781219" cy="0"/>
              </a:xfrm>
              <a:prstGeom prst="line">
                <a:avLst/>
              </a:prstGeom>
              <a:noFill/>
              <a:ln w="19050">
                <a:solidFill>
                  <a:schemeClr val="bg1">
                    <a:lumMod val="85000"/>
                  </a:schemeClr>
                </a:solidFill>
                <a:prstDash val="dash"/>
                <a:round/>
                <a:headEnd/>
                <a:tailEnd/>
              </a:ln>
              <a:effectLst/>
            </p:spPr>
          </p:cxnSp>
          <p:grpSp>
            <p:nvGrpSpPr>
              <p:cNvPr id="48" name="Gruppieren 1">
                <a:extLst>
                  <a:ext uri="{FF2B5EF4-FFF2-40B4-BE49-F238E27FC236}">
                    <a16:creationId xmlns:a16="http://schemas.microsoft.com/office/drawing/2014/main" xmlns="" id="{40C9B2A7-39FD-47D4-8523-C3311AD17331}"/>
                  </a:ext>
                </a:extLst>
              </p:cNvPr>
              <p:cNvGrpSpPr/>
              <p:nvPr/>
            </p:nvGrpSpPr>
            <p:grpSpPr bwMode="gray">
              <a:xfrm>
                <a:off x="2762365" y="2056363"/>
                <a:ext cx="3166527" cy="2951692"/>
                <a:chOff x="2762365" y="2056363"/>
                <a:chExt cx="3166527" cy="2951692"/>
              </a:xfrm>
            </p:grpSpPr>
            <p:sp>
              <p:nvSpPr>
                <p:cNvPr id="59" name="Rechteck 32">
                  <a:extLst>
                    <a:ext uri="{FF2B5EF4-FFF2-40B4-BE49-F238E27FC236}">
                      <a16:creationId xmlns:a16="http://schemas.microsoft.com/office/drawing/2014/main" xmlns="" id="{3C9BAA7C-A387-4405-BF3F-28A7836D48EC}"/>
                    </a:ext>
                  </a:extLst>
                </p:cNvPr>
                <p:cNvSpPr/>
                <p:nvPr/>
              </p:nvSpPr>
              <p:spPr bwMode="gray">
                <a:xfrm>
                  <a:off x="4861068" y="4790953"/>
                  <a:ext cx="1067824" cy="217102"/>
                </a:xfrm>
                <a:prstGeom prst="rect">
                  <a:avLst/>
                </a:prstGeom>
              </p:spPr>
              <p:txBody>
                <a:bodyPr wrap="square" lIns="0" tIns="0" rIns="0" bIns="0">
                  <a:spAutoFit/>
                </a:bodyPr>
                <a:lstStyle/>
                <a:p>
                  <a:pPr algn="r"/>
                  <a:r>
                    <a:rPr lang="en-GB" sz="1400" b="1" dirty="0">
                      <a:solidFill>
                        <a:schemeClr val="accent4">
                          <a:lumMod val="40000"/>
                          <a:lumOff val="60000"/>
                        </a:schemeClr>
                      </a:solidFill>
                      <a:latin typeface="+mn-lt"/>
                      <a:cs typeface="Arial" charset="0"/>
                    </a:rPr>
                    <a:t>Beginner</a:t>
                  </a:r>
                  <a:endParaRPr lang="en-GB" sz="1400" b="1" dirty="0">
                    <a:solidFill>
                      <a:schemeClr val="accent4">
                        <a:lumMod val="40000"/>
                        <a:lumOff val="60000"/>
                      </a:schemeClr>
                    </a:solidFill>
                    <a:latin typeface="+mn-lt"/>
                  </a:endParaRPr>
                </a:p>
              </p:txBody>
            </p:sp>
            <p:sp>
              <p:nvSpPr>
                <p:cNvPr id="60" name="Rechteck 33">
                  <a:extLst>
                    <a:ext uri="{FF2B5EF4-FFF2-40B4-BE49-F238E27FC236}">
                      <a16:creationId xmlns:a16="http://schemas.microsoft.com/office/drawing/2014/main" xmlns="" id="{F2B0E235-4ABE-4611-ABD7-7AF753A0F1D5}"/>
                    </a:ext>
                  </a:extLst>
                </p:cNvPr>
                <p:cNvSpPr/>
                <p:nvPr/>
              </p:nvSpPr>
              <p:spPr bwMode="gray">
                <a:xfrm>
                  <a:off x="2762365" y="3038764"/>
                  <a:ext cx="1152160" cy="217102"/>
                </a:xfrm>
                <a:prstGeom prst="rect">
                  <a:avLst/>
                </a:prstGeom>
              </p:spPr>
              <p:txBody>
                <a:bodyPr wrap="square" lIns="0" tIns="0" rIns="0" bIns="0">
                  <a:spAutoFit/>
                </a:bodyPr>
                <a:lstStyle/>
                <a:p>
                  <a:r>
                    <a:rPr lang="en-GB" sz="1400" b="1" dirty="0">
                      <a:solidFill>
                        <a:schemeClr val="accent4">
                          <a:lumMod val="40000"/>
                          <a:lumOff val="60000"/>
                        </a:schemeClr>
                      </a:solidFill>
                      <a:latin typeface="+mn-lt"/>
                      <a:cs typeface="Arial" charset="0"/>
                    </a:rPr>
                    <a:t>Advanced</a:t>
                  </a:r>
                  <a:endParaRPr lang="en-GB" sz="1600" b="1" dirty="0">
                    <a:solidFill>
                      <a:schemeClr val="accent4">
                        <a:lumMod val="40000"/>
                        <a:lumOff val="60000"/>
                      </a:schemeClr>
                    </a:solidFill>
                    <a:latin typeface="+mn-lt"/>
                  </a:endParaRPr>
                </a:p>
              </p:txBody>
            </p:sp>
            <p:sp>
              <p:nvSpPr>
                <p:cNvPr id="61" name="Rechteck 34">
                  <a:extLst>
                    <a:ext uri="{FF2B5EF4-FFF2-40B4-BE49-F238E27FC236}">
                      <a16:creationId xmlns:a16="http://schemas.microsoft.com/office/drawing/2014/main" xmlns="" id="{6D4BDB3F-27C0-4E83-901C-5569A527DCA9}"/>
                    </a:ext>
                  </a:extLst>
                </p:cNvPr>
                <p:cNvSpPr/>
                <p:nvPr/>
              </p:nvSpPr>
              <p:spPr bwMode="gray">
                <a:xfrm>
                  <a:off x="3157097" y="2056363"/>
                  <a:ext cx="901447" cy="217102"/>
                </a:xfrm>
                <a:prstGeom prst="rect">
                  <a:avLst/>
                </a:prstGeom>
              </p:spPr>
              <p:txBody>
                <a:bodyPr wrap="square" lIns="0" tIns="0" rIns="0" bIns="0">
                  <a:spAutoFit/>
                </a:bodyPr>
                <a:lstStyle/>
                <a:p>
                  <a:r>
                    <a:rPr lang="en-GB" sz="1400" b="1" dirty="0">
                      <a:solidFill>
                        <a:schemeClr val="accent4">
                          <a:lumMod val="40000"/>
                          <a:lumOff val="60000"/>
                        </a:schemeClr>
                      </a:solidFill>
                      <a:latin typeface="+mn-lt"/>
                      <a:cs typeface="Arial" charset="0"/>
                    </a:rPr>
                    <a:t>Expert</a:t>
                  </a:r>
                  <a:endParaRPr lang="en-GB" sz="1400" b="1" dirty="0">
                    <a:solidFill>
                      <a:schemeClr val="accent4">
                        <a:lumMod val="40000"/>
                        <a:lumOff val="60000"/>
                      </a:schemeClr>
                    </a:solidFill>
                    <a:latin typeface="+mn-lt"/>
                  </a:endParaRPr>
                </a:p>
              </p:txBody>
            </p:sp>
          </p:grpSp>
          <p:grpSp>
            <p:nvGrpSpPr>
              <p:cNvPr id="49" name="Gruppieren 2">
                <a:extLst>
                  <a:ext uri="{FF2B5EF4-FFF2-40B4-BE49-F238E27FC236}">
                    <a16:creationId xmlns:a16="http://schemas.microsoft.com/office/drawing/2014/main" xmlns="" id="{401F6336-800A-4E46-B755-81315680D72B}"/>
                  </a:ext>
                </a:extLst>
              </p:cNvPr>
              <p:cNvGrpSpPr/>
              <p:nvPr/>
            </p:nvGrpSpPr>
            <p:grpSpPr bwMode="gray">
              <a:xfrm>
                <a:off x="3723134" y="2247611"/>
                <a:ext cx="2110724" cy="3590047"/>
                <a:chOff x="3723134" y="2247611"/>
                <a:chExt cx="2110724" cy="3590047"/>
              </a:xfrm>
            </p:grpSpPr>
            <p:grpSp>
              <p:nvGrpSpPr>
                <p:cNvPr id="50" name="Gruppieren 350">
                  <a:extLst>
                    <a:ext uri="{FF2B5EF4-FFF2-40B4-BE49-F238E27FC236}">
                      <a16:creationId xmlns:a16="http://schemas.microsoft.com/office/drawing/2014/main" xmlns="" id="{3EC82914-A731-4A53-AF1A-4838175EAB21}"/>
                    </a:ext>
                  </a:extLst>
                </p:cNvPr>
                <p:cNvGrpSpPr/>
                <p:nvPr/>
              </p:nvGrpSpPr>
              <p:grpSpPr bwMode="gray">
                <a:xfrm rot="940951" flipH="1">
                  <a:off x="3723134" y="2247611"/>
                  <a:ext cx="535498" cy="656267"/>
                  <a:chOff x="1077119" y="3821113"/>
                  <a:chExt cx="2189163" cy="2682875"/>
                </a:xfrm>
              </p:grpSpPr>
              <p:pic>
                <p:nvPicPr>
                  <p:cNvPr id="57" name="Picture 2" descr="S:\07_Maps\in_Vorbereitung\Fähnchen\geteilt\rot stengel.png">
                    <a:extLst>
                      <a:ext uri="{FF2B5EF4-FFF2-40B4-BE49-F238E27FC236}">
                        <a16:creationId xmlns:a16="http://schemas.microsoft.com/office/drawing/2014/main" xmlns="" id="{C4E85B4E-ABE8-455E-AC24-B3173E360943}"/>
                      </a:ext>
                    </a:extLst>
                  </p:cNvPr>
                  <p:cNvPicPr>
                    <a:picLocks noChangeAspect="1" noChangeArrowheads="1"/>
                  </p:cNvPicPr>
                  <p:nvPr/>
                </p:nvPicPr>
                <p:blipFill>
                  <a:blip r:embed="rId8" cstate="print"/>
                  <a:srcRect/>
                  <a:stretch>
                    <a:fillRect/>
                  </a:stretch>
                </p:blipFill>
                <p:spPr bwMode="gray">
                  <a:xfrm>
                    <a:off x="1077119" y="3821113"/>
                    <a:ext cx="2189163" cy="2682875"/>
                  </a:xfrm>
                  <a:prstGeom prst="rect">
                    <a:avLst/>
                  </a:prstGeom>
                  <a:noFill/>
                </p:spPr>
              </p:pic>
              <p:pic>
                <p:nvPicPr>
                  <p:cNvPr id="58" name="Picture 3" descr="S:\07_Maps\in_Vorbereitung\Fähnchen\geteilt\geld fahne.png">
                    <a:extLst>
                      <a:ext uri="{FF2B5EF4-FFF2-40B4-BE49-F238E27FC236}">
                        <a16:creationId xmlns:a16="http://schemas.microsoft.com/office/drawing/2014/main" xmlns="" id="{68B996E8-4744-4A1D-9AC4-7D8629B8423D}"/>
                      </a:ext>
                    </a:extLst>
                  </p:cNvPr>
                  <p:cNvPicPr>
                    <a:picLocks noChangeAspect="1" noChangeArrowheads="1"/>
                  </p:cNvPicPr>
                  <p:nvPr/>
                </p:nvPicPr>
                <p:blipFill>
                  <a:blip r:embed="rId9" cstate="print">
                    <a:duotone>
                      <a:schemeClr val="accent3">
                        <a:shade val="45000"/>
                        <a:satMod val="135000"/>
                      </a:schemeClr>
                      <a:prstClr val="white"/>
                    </a:duotone>
                  </a:blip>
                  <a:srcRect/>
                  <a:stretch>
                    <a:fillRect/>
                  </a:stretch>
                </p:blipFill>
                <p:spPr bwMode="gray">
                  <a:xfrm>
                    <a:off x="1077119" y="3821113"/>
                    <a:ext cx="2189163" cy="2682875"/>
                  </a:xfrm>
                  <a:prstGeom prst="rect">
                    <a:avLst/>
                  </a:prstGeom>
                  <a:noFill/>
                </p:spPr>
              </p:pic>
            </p:grpSp>
            <p:grpSp>
              <p:nvGrpSpPr>
                <p:cNvPr id="51" name="Gruppieren 350">
                  <a:extLst>
                    <a:ext uri="{FF2B5EF4-FFF2-40B4-BE49-F238E27FC236}">
                      <a16:creationId xmlns:a16="http://schemas.microsoft.com/office/drawing/2014/main" xmlns="" id="{0C867A09-697A-4295-BD8A-F981AEB2F512}"/>
                    </a:ext>
                  </a:extLst>
                </p:cNvPr>
                <p:cNvGrpSpPr/>
                <p:nvPr/>
              </p:nvGrpSpPr>
              <p:grpSpPr bwMode="gray">
                <a:xfrm rot="20821381">
                  <a:off x="5021464" y="2573083"/>
                  <a:ext cx="812394" cy="995608"/>
                  <a:chOff x="1077119" y="3821113"/>
                  <a:chExt cx="2189163" cy="2682875"/>
                </a:xfrm>
              </p:grpSpPr>
              <p:pic>
                <p:nvPicPr>
                  <p:cNvPr id="55" name="Picture 2" descr="S:\07_Maps\in_Vorbereitung\Fähnchen\geteilt\rot stengel.png">
                    <a:extLst>
                      <a:ext uri="{FF2B5EF4-FFF2-40B4-BE49-F238E27FC236}">
                        <a16:creationId xmlns:a16="http://schemas.microsoft.com/office/drawing/2014/main" xmlns="" id="{27873594-4876-4802-A931-C7C5DCFCCF3C}"/>
                      </a:ext>
                    </a:extLst>
                  </p:cNvPr>
                  <p:cNvPicPr>
                    <a:picLocks noChangeAspect="1" noChangeArrowheads="1"/>
                  </p:cNvPicPr>
                  <p:nvPr/>
                </p:nvPicPr>
                <p:blipFill>
                  <a:blip r:embed="rId8" cstate="print"/>
                  <a:srcRect/>
                  <a:stretch>
                    <a:fillRect/>
                  </a:stretch>
                </p:blipFill>
                <p:spPr bwMode="gray">
                  <a:xfrm>
                    <a:off x="1077119" y="3821113"/>
                    <a:ext cx="2189163" cy="2682875"/>
                  </a:xfrm>
                  <a:prstGeom prst="rect">
                    <a:avLst/>
                  </a:prstGeom>
                  <a:noFill/>
                </p:spPr>
              </p:pic>
              <p:pic>
                <p:nvPicPr>
                  <p:cNvPr id="56" name="Picture 3" descr="S:\07_Maps\in_Vorbereitung\Fähnchen\geteilt\geld fahne.png">
                    <a:extLst>
                      <a:ext uri="{FF2B5EF4-FFF2-40B4-BE49-F238E27FC236}">
                        <a16:creationId xmlns:a16="http://schemas.microsoft.com/office/drawing/2014/main" xmlns="" id="{FD5F0F96-54FF-4564-924F-B83254755273}"/>
                      </a:ext>
                    </a:extLst>
                  </p:cNvPr>
                  <p:cNvPicPr>
                    <a:picLocks noChangeAspect="1" noChangeArrowheads="1"/>
                  </p:cNvPicPr>
                  <p:nvPr/>
                </p:nvPicPr>
                <p:blipFill>
                  <a:blip r:embed="rId9" cstate="print">
                    <a:duotone>
                      <a:schemeClr val="accent3">
                        <a:shade val="45000"/>
                        <a:satMod val="135000"/>
                      </a:schemeClr>
                      <a:prstClr val="white"/>
                    </a:duotone>
                  </a:blip>
                  <a:srcRect/>
                  <a:stretch>
                    <a:fillRect/>
                  </a:stretch>
                </p:blipFill>
                <p:spPr bwMode="gray">
                  <a:xfrm>
                    <a:off x="1077119" y="3821113"/>
                    <a:ext cx="2189163" cy="2682875"/>
                  </a:xfrm>
                  <a:prstGeom prst="rect">
                    <a:avLst/>
                  </a:prstGeom>
                  <a:noFill/>
                </p:spPr>
              </p:pic>
            </p:grpSp>
            <p:grpSp>
              <p:nvGrpSpPr>
                <p:cNvPr id="52" name="Gruppieren 350">
                  <a:extLst>
                    <a:ext uri="{FF2B5EF4-FFF2-40B4-BE49-F238E27FC236}">
                      <a16:creationId xmlns:a16="http://schemas.microsoft.com/office/drawing/2014/main" xmlns="" id="{55C1927D-A254-4D90-8BF7-A0E51D2CD13D}"/>
                    </a:ext>
                  </a:extLst>
                </p:cNvPr>
                <p:cNvGrpSpPr/>
                <p:nvPr/>
              </p:nvGrpSpPr>
              <p:grpSpPr bwMode="gray">
                <a:xfrm rot="20009153">
                  <a:off x="3981497" y="3968014"/>
                  <a:ext cx="1525588" cy="1869644"/>
                  <a:chOff x="1077119" y="3821113"/>
                  <a:chExt cx="2189163" cy="2682875"/>
                </a:xfrm>
              </p:grpSpPr>
              <p:pic>
                <p:nvPicPr>
                  <p:cNvPr id="53" name="Picture 2" descr="S:\07_Maps\in_Vorbereitung\Fähnchen\geteilt\rot stengel.png">
                    <a:extLst>
                      <a:ext uri="{FF2B5EF4-FFF2-40B4-BE49-F238E27FC236}">
                        <a16:creationId xmlns:a16="http://schemas.microsoft.com/office/drawing/2014/main" xmlns="" id="{E592E9D7-17B5-40F6-B41D-A4D79BF33F97}"/>
                      </a:ext>
                    </a:extLst>
                  </p:cNvPr>
                  <p:cNvPicPr>
                    <a:picLocks noChangeAspect="1" noChangeArrowheads="1"/>
                  </p:cNvPicPr>
                  <p:nvPr/>
                </p:nvPicPr>
                <p:blipFill>
                  <a:blip r:embed="rId8" cstate="print"/>
                  <a:srcRect/>
                  <a:stretch>
                    <a:fillRect/>
                  </a:stretch>
                </p:blipFill>
                <p:spPr bwMode="gray">
                  <a:xfrm>
                    <a:off x="1077119" y="3821113"/>
                    <a:ext cx="2189163" cy="2682875"/>
                  </a:xfrm>
                  <a:prstGeom prst="rect">
                    <a:avLst/>
                  </a:prstGeom>
                  <a:noFill/>
                </p:spPr>
              </p:pic>
              <p:pic>
                <p:nvPicPr>
                  <p:cNvPr id="54" name="Picture 3" descr="S:\07_Maps\in_Vorbereitung\Fähnchen\geteilt\geld fahne.png">
                    <a:extLst>
                      <a:ext uri="{FF2B5EF4-FFF2-40B4-BE49-F238E27FC236}">
                        <a16:creationId xmlns:a16="http://schemas.microsoft.com/office/drawing/2014/main" xmlns="" id="{76DD0506-7B55-41F7-86AD-94618C0A764A}"/>
                      </a:ext>
                    </a:extLst>
                  </p:cNvPr>
                  <p:cNvPicPr>
                    <a:picLocks noChangeAspect="1" noChangeArrowheads="1"/>
                  </p:cNvPicPr>
                  <p:nvPr/>
                </p:nvPicPr>
                <p:blipFill>
                  <a:blip r:embed="rId10" cstate="print">
                    <a:duotone>
                      <a:schemeClr val="accent3">
                        <a:shade val="45000"/>
                        <a:satMod val="135000"/>
                      </a:schemeClr>
                      <a:prstClr val="white"/>
                    </a:duotone>
                  </a:blip>
                  <a:srcRect/>
                  <a:stretch>
                    <a:fillRect/>
                  </a:stretch>
                </p:blipFill>
                <p:spPr bwMode="gray">
                  <a:xfrm>
                    <a:off x="1077119" y="3821113"/>
                    <a:ext cx="2189163" cy="2682875"/>
                  </a:xfrm>
                  <a:prstGeom prst="rect">
                    <a:avLst/>
                  </a:prstGeom>
                  <a:noFill/>
                </p:spPr>
              </p:pic>
            </p:grpSp>
          </p:grpSp>
        </p:grpSp>
        <p:pic>
          <p:nvPicPr>
            <p:cNvPr id="22" name="Grafik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40338" y="5005942"/>
              <a:ext cx="590532" cy="590532"/>
            </a:xfrm>
            <a:prstGeom prst="rect">
              <a:avLst/>
            </a:prstGeom>
          </p:spPr>
        </p:pic>
        <p:pic>
          <p:nvPicPr>
            <p:cNvPr id="23" name="Grafik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51525" y="2331535"/>
              <a:ext cx="582962" cy="590532"/>
            </a:xfrm>
            <a:prstGeom prst="rect">
              <a:avLst/>
            </a:prstGeom>
          </p:spPr>
        </p:pic>
        <p:pic>
          <p:nvPicPr>
            <p:cNvPr id="24" name="Grafik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15687" y="3327097"/>
              <a:ext cx="590532" cy="590532"/>
            </a:xfrm>
            <a:prstGeom prst="rect">
              <a:avLst/>
            </a:prstGeom>
          </p:spPr>
        </p:pic>
      </p:grpSp>
      <p:sp>
        <p:nvSpPr>
          <p:cNvPr id="66" name="Rectangle 6">
            <a:extLst>
              <a:ext uri="{FF2B5EF4-FFF2-40B4-BE49-F238E27FC236}">
                <a16:creationId xmlns:a16="http://schemas.microsoft.com/office/drawing/2014/main" xmlns="" id="{8AF8CAD7-4852-4ECB-8481-A2D0ED988E6A}"/>
              </a:ext>
            </a:extLst>
          </p:cNvPr>
          <p:cNvSpPr/>
          <p:nvPr/>
        </p:nvSpPr>
        <p:spPr bwMode="gray">
          <a:xfrm rot="5400000" flipH="1">
            <a:off x="755736" y="2043390"/>
            <a:ext cx="3994761" cy="4735045"/>
          </a:xfrm>
          <a:prstGeom prst="rect">
            <a:avLst/>
          </a:prstGeom>
          <a:solidFill>
            <a:srgbClr val="DEE8EC"/>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08000" rtlCol="0" anchor="ctr"/>
          <a:lstStyle/>
          <a:p>
            <a:pPr marL="171450" indent="-171450">
              <a:spcAft>
                <a:spcPts val="600"/>
              </a:spcAft>
              <a:buFont typeface="Wingdings" panose="05000000000000000000" pitchFamily="2" charset="2"/>
              <a:buChar char="§"/>
            </a:pPr>
            <a:endParaRPr lang="en-US" sz="1400" dirty="0">
              <a:solidFill>
                <a:srgbClr val="10384F"/>
              </a:solidFill>
              <a:latin typeface="Arial"/>
              <a:cs typeface="Arial"/>
            </a:endParaRPr>
          </a:p>
        </p:txBody>
      </p:sp>
      <p:sp>
        <p:nvSpPr>
          <p:cNvPr id="36" name="Text Placeholder 17"/>
          <p:cNvSpPr txBox="1">
            <a:spLocks/>
          </p:cNvSpPr>
          <p:nvPr/>
        </p:nvSpPr>
        <p:spPr bwMode="gray">
          <a:xfrm>
            <a:off x="7568502" y="6191501"/>
            <a:ext cx="4791026" cy="534432"/>
          </a:xfrm>
          <a:prstGeom prst="rect">
            <a:avLst/>
          </a:prstGeom>
        </p:spPr>
        <p:txBody>
          <a:bodyPr wrap="square" lIns="0" tIns="0" rIns="180000" bIns="0" anchor="b">
            <a:noAutofit/>
          </a:bodyPr>
          <a:lstStyle>
            <a:lvl1pPr marL="0" indent="0" algn="ctr" defTabSz="1221456" rtl="0" eaLnBrk="1" latinLnBrk="0" hangingPunct="1">
              <a:spcBef>
                <a:spcPts val="0"/>
              </a:spcBef>
              <a:spcAft>
                <a:spcPts val="0"/>
              </a:spcAft>
              <a:buClr>
                <a:schemeClr val="accent2"/>
              </a:buClr>
              <a:buSzPct val="110000"/>
              <a:buFont typeface="Arial" panose="020B0604020202020204" pitchFamily="34" charset="0"/>
              <a:buNone/>
              <a:defRPr sz="1200" b="0" kern="1200" baseline="0">
                <a:solidFill>
                  <a:schemeClr val="tx1"/>
                </a:solidFill>
                <a:latin typeface="+mn-lt"/>
                <a:ea typeface="+mn-ea"/>
                <a:cs typeface="+mn-cs"/>
              </a:defRPr>
            </a:lvl1pPr>
            <a:lvl2pPr marL="0" indent="0" algn="ctr" defTabSz="1221456" rtl="0" eaLnBrk="1" latinLnBrk="0" hangingPunct="1">
              <a:spcBef>
                <a:spcPts val="0"/>
              </a:spcBef>
              <a:spcAft>
                <a:spcPts val="0"/>
              </a:spcAft>
              <a:buClr>
                <a:schemeClr val="accent1"/>
              </a:buClr>
              <a:buSzPct val="110000"/>
              <a:buFont typeface="Arial" pitchFamily="34" charset="0"/>
              <a:buNone/>
              <a:defRPr sz="1200" b="0" kern="1200">
                <a:solidFill>
                  <a:schemeClr val="tx1"/>
                </a:solidFill>
                <a:latin typeface="+mn-lt"/>
                <a:ea typeface="+mn-ea"/>
                <a:cs typeface="+mn-cs"/>
              </a:defRPr>
            </a:lvl2pPr>
            <a:lvl3pPr marL="0" indent="0" algn="ctr" defTabSz="1221456" rtl="0" eaLnBrk="1" latinLnBrk="0" hangingPunct="1">
              <a:spcBef>
                <a:spcPts val="0"/>
              </a:spcBef>
              <a:spcAft>
                <a:spcPts val="0"/>
              </a:spcAft>
              <a:buClr>
                <a:srgbClr val="6BC200"/>
              </a:buClr>
              <a:buSzPct val="110000"/>
              <a:buFont typeface="Arial" pitchFamily="34" charset="0"/>
              <a:buNone/>
              <a:defRPr sz="1200" b="0" kern="1200">
                <a:solidFill>
                  <a:schemeClr val="tx1"/>
                </a:solidFill>
                <a:latin typeface="+mn-lt"/>
                <a:ea typeface="+mn-ea"/>
                <a:cs typeface="+mn-cs"/>
              </a:defRPr>
            </a:lvl3pPr>
            <a:lvl4pPr marL="0" indent="0" algn="ctr" defTabSz="1221456" rtl="0" eaLnBrk="1" latinLnBrk="0" hangingPunct="1">
              <a:spcBef>
                <a:spcPts val="0"/>
              </a:spcBef>
              <a:spcAft>
                <a:spcPts val="0"/>
              </a:spcAft>
              <a:buClr>
                <a:schemeClr val="accent5"/>
              </a:buClr>
              <a:buSzPct val="110000"/>
              <a:buFont typeface="Arial" pitchFamily="34" charset="0"/>
              <a:buNone/>
              <a:defRPr sz="1200" b="0" kern="1200">
                <a:solidFill>
                  <a:schemeClr val="tx1"/>
                </a:solidFill>
                <a:latin typeface="+mn-lt"/>
                <a:ea typeface="+mn-ea"/>
                <a:cs typeface="+mn-cs"/>
              </a:defRPr>
            </a:lvl4pPr>
            <a:lvl5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5pPr>
            <a:lvl6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6pPr>
            <a:lvl7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7pPr>
            <a:lvl8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8pPr>
            <a:lvl9pPr marL="0" indent="0" algn="ctr" defTabSz="1221456" rtl="0" eaLnBrk="1" latinLnBrk="0" hangingPunct="1">
              <a:spcBef>
                <a:spcPts val="0"/>
              </a:spcBef>
              <a:spcAft>
                <a:spcPts val="0"/>
              </a:spcAft>
              <a:buClr>
                <a:schemeClr val="accent6"/>
              </a:buClr>
              <a:buSzPct val="110000"/>
              <a:buFont typeface="Arial" pitchFamily="34" charset="0"/>
              <a:buNone/>
              <a:defRPr sz="1200" b="0" kern="1200">
                <a:solidFill>
                  <a:schemeClr val="tx1"/>
                </a:solidFill>
                <a:latin typeface="+mn-lt"/>
                <a:ea typeface="+mn-ea"/>
                <a:cs typeface="+mn-cs"/>
              </a:defRPr>
            </a:lvl9pPr>
          </a:lstStyle>
          <a:p>
            <a:pPr algn="r">
              <a:lnSpc>
                <a:spcPct val="80000"/>
              </a:lnSpc>
              <a:buClr>
                <a:srgbClr val="00BCFF"/>
              </a:buClr>
            </a:pPr>
            <a:r>
              <a:rPr lang="en-US" sz="2000" b="1" cap="all" dirty="0">
                <a:solidFill>
                  <a:schemeClr val="accent1">
                    <a:lumMod val="10000"/>
                    <a:lumOff val="90000"/>
                  </a:schemeClr>
                </a:solidFill>
                <a:latin typeface="Arial Black" panose="020B0A04020102020204" pitchFamily="34" charset="0"/>
              </a:rPr>
              <a:t>Go/</a:t>
            </a:r>
            <a:r>
              <a:rPr lang="en-US" sz="2000" b="1" cap="all" dirty="0" err="1">
                <a:solidFill>
                  <a:schemeClr val="accent1">
                    <a:lumMod val="10000"/>
                    <a:lumOff val="90000"/>
                  </a:schemeClr>
                </a:solidFill>
                <a:latin typeface="Arial Black" panose="020B0A04020102020204" pitchFamily="34" charset="0"/>
              </a:rPr>
              <a:t>datalearningjourneys</a:t>
            </a:r>
            <a:endParaRPr lang="en-US" sz="2000" b="1" cap="all" dirty="0">
              <a:solidFill>
                <a:schemeClr val="accent1">
                  <a:lumMod val="10000"/>
                  <a:lumOff val="90000"/>
                </a:schemeClr>
              </a:solidFill>
              <a:latin typeface="Arial Black" panose="020B0A04020102020204" pitchFamily="34" charset="0"/>
            </a:endParaRPr>
          </a:p>
        </p:txBody>
      </p:sp>
      <p:sp>
        <p:nvSpPr>
          <p:cNvPr id="38" name="Textfeld 37"/>
          <p:cNvSpPr txBox="1"/>
          <p:nvPr/>
        </p:nvSpPr>
        <p:spPr bwMode="gray">
          <a:xfrm>
            <a:off x="439318" y="2292448"/>
            <a:ext cx="4644019" cy="3724849"/>
          </a:xfrm>
          <a:prstGeom prst="rect">
            <a:avLst/>
          </a:prstGeom>
          <a:noFill/>
        </p:spPr>
        <p:txBody>
          <a:bodyPr wrap="square" lIns="0" tIns="0" rIns="0" bIns="0" rtlCol="0">
            <a:noAutofit/>
          </a:bodyPr>
          <a:lstStyle/>
          <a:p>
            <a:r>
              <a:rPr lang="en-US" sz="1300" b="1" dirty="0" smtClean="0">
                <a:solidFill>
                  <a:schemeClr val="accent1"/>
                </a:solidFill>
              </a:rPr>
              <a:t/>
            </a:r>
            <a:br>
              <a:rPr lang="en-US" sz="1300" b="1" dirty="0" smtClean="0">
                <a:solidFill>
                  <a:schemeClr val="accent1"/>
                </a:solidFill>
              </a:rPr>
            </a:br>
            <a:r>
              <a:rPr lang="en-US" sz="1300" i="1" dirty="0" smtClean="0">
                <a:solidFill>
                  <a:schemeClr val="accent1"/>
                </a:solidFill>
              </a:rPr>
              <a:t>The </a:t>
            </a:r>
            <a:r>
              <a:rPr lang="en-US" sz="1300" b="1" i="1" dirty="0" smtClean="0">
                <a:solidFill>
                  <a:schemeClr val="accent1"/>
                </a:solidFill>
              </a:rPr>
              <a:t>Digital Masterclasses </a:t>
            </a:r>
            <a:r>
              <a:rPr lang="en-US" sz="1300" dirty="0">
                <a:solidFill>
                  <a:schemeClr val="accent1"/>
                </a:solidFill>
              </a:rPr>
              <a:t>improve the ability of the organization to learn from its own experts and use cases, as well </a:t>
            </a:r>
            <a:r>
              <a:rPr lang="en-US" sz="1300" dirty="0" smtClean="0">
                <a:solidFill>
                  <a:schemeClr val="accent1"/>
                </a:solidFill>
              </a:rPr>
              <a:t>as external </a:t>
            </a:r>
            <a:r>
              <a:rPr lang="en-US" sz="1300" dirty="0">
                <a:solidFill>
                  <a:schemeClr val="accent1"/>
                </a:solidFill>
              </a:rPr>
              <a:t>experience and perspectives.  10 episodes available, Top three videos with the most views:</a:t>
            </a:r>
            <a:br>
              <a:rPr lang="en-US" sz="1300" dirty="0">
                <a:solidFill>
                  <a:schemeClr val="accent1"/>
                </a:solidFill>
              </a:rPr>
            </a:br>
            <a:r>
              <a:rPr lang="en-US" sz="1300" dirty="0">
                <a:solidFill>
                  <a:schemeClr val="accent1"/>
                </a:solidFill>
              </a:rPr>
              <a:t>1. Human Centered Data </a:t>
            </a:r>
            <a:r>
              <a:rPr lang="en-US" sz="1300" dirty="0" smtClean="0">
                <a:solidFill>
                  <a:schemeClr val="accent1"/>
                </a:solidFill>
              </a:rPr>
              <a:t>Science / 2</a:t>
            </a:r>
            <a:r>
              <a:rPr lang="en-US" sz="1300" dirty="0">
                <a:solidFill>
                  <a:schemeClr val="accent1"/>
                </a:solidFill>
              </a:rPr>
              <a:t>. What is AI</a:t>
            </a:r>
            <a:r>
              <a:rPr lang="en-US" sz="1300" dirty="0" smtClean="0">
                <a:solidFill>
                  <a:schemeClr val="accent1"/>
                </a:solidFill>
              </a:rPr>
              <a:t>? / 3. </a:t>
            </a:r>
            <a:r>
              <a:rPr lang="en-US" sz="1300" dirty="0">
                <a:solidFill>
                  <a:schemeClr val="accent1"/>
                </a:solidFill>
              </a:rPr>
              <a:t>Neural </a:t>
            </a:r>
            <a:r>
              <a:rPr lang="en-US" sz="1300" dirty="0" smtClean="0">
                <a:solidFill>
                  <a:schemeClr val="accent1"/>
                </a:solidFill>
              </a:rPr>
              <a:t>Networks</a:t>
            </a:r>
          </a:p>
          <a:p>
            <a:pPr algn="just"/>
            <a:endParaRPr lang="en-US" sz="1300" b="1" i="1" dirty="0">
              <a:solidFill>
                <a:schemeClr val="accent1"/>
              </a:solidFill>
            </a:endParaRPr>
          </a:p>
          <a:p>
            <a:r>
              <a:rPr lang="en-US" sz="1300" b="1" i="1" dirty="0">
                <a:solidFill>
                  <a:schemeClr val="accent1"/>
                </a:solidFill>
              </a:rPr>
              <a:t/>
            </a:r>
            <a:br>
              <a:rPr lang="en-US" sz="1300" b="1" i="1" dirty="0">
                <a:solidFill>
                  <a:schemeClr val="accent1"/>
                </a:solidFill>
              </a:rPr>
            </a:br>
            <a:r>
              <a:rPr lang="en-US" sz="1300" b="1" i="1" dirty="0">
                <a:solidFill>
                  <a:schemeClr val="accent1"/>
                </a:solidFill>
              </a:rPr>
              <a:t>The Advancing Digital Learning Journey </a:t>
            </a:r>
            <a:r>
              <a:rPr lang="en-US" sz="1300" dirty="0">
                <a:solidFill>
                  <a:schemeClr val="accent1"/>
                </a:solidFill>
              </a:rPr>
              <a:t>is designed for everyone who is passionate to understand the most important topics of the digital transformation at Bayer. </a:t>
            </a:r>
            <a:r>
              <a:rPr lang="en-US" sz="1300" dirty="0" smtClean="0">
                <a:solidFill>
                  <a:schemeClr val="accent1"/>
                </a:solidFill>
              </a:rPr>
              <a:t>We leverage different techniques &amp; methods, content is tailored to your expertise level.</a:t>
            </a:r>
          </a:p>
          <a:p>
            <a:r>
              <a:rPr lang="de-DE" sz="1300" dirty="0" smtClean="0">
                <a:solidFill>
                  <a:schemeClr val="accent1"/>
                </a:solidFill>
              </a:rPr>
              <a:t>Almost 4500</a:t>
            </a:r>
            <a:r>
              <a:rPr lang="en-US" sz="1300" dirty="0" smtClean="0">
                <a:solidFill>
                  <a:schemeClr val="accent1"/>
                </a:solidFill>
              </a:rPr>
              <a:t> </a:t>
            </a:r>
            <a:r>
              <a:rPr lang="en-US" sz="1300" dirty="0">
                <a:solidFill>
                  <a:schemeClr val="accent1"/>
                </a:solidFill>
              </a:rPr>
              <a:t>eLearning </a:t>
            </a:r>
            <a:r>
              <a:rPr lang="en-US" sz="1300" dirty="0" smtClean="0">
                <a:solidFill>
                  <a:schemeClr val="accent1"/>
                </a:solidFill>
              </a:rPr>
              <a:t>have </a:t>
            </a:r>
            <a:r>
              <a:rPr lang="en-US" sz="1300" dirty="0">
                <a:solidFill>
                  <a:schemeClr val="accent1"/>
                </a:solidFill>
              </a:rPr>
              <a:t>been </a:t>
            </a:r>
            <a:r>
              <a:rPr lang="en-US" sz="1300" dirty="0" smtClean="0">
                <a:solidFill>
                  <a:schemeClr val="accent1"/>
                </a:solidFill>
              </a:rPr>
              <a:t>accessed, top </a:t>
            </a:r>
            <a:r>
              <a:rPr lang="en-US" sz="1300" dirty="0">
                <a:solidFill>
                  <a:schemeClr val="accent1"/>
                </a:solidFill>
              </a:rPr>
              <a:t>three courses:</a:t>
            </a:r>
            <a:br>
              <a:rPr lang="en-US" sz="1300" dirty="0">
                <a:solidFill>
                  <a:schemeClr val="accent1"/>
                </a:solidFill>
              </a:rPr>
            </a:br>
            <a:r>
              <a:rPr lang="en-US" sz="1300" dirty="0">
                <a:solidFill>
                  <a:schemeClr val="accent1"/>
                </a:solidFill>
              </a:rPr>
              <a:t>1. Agile Principles and Methodologies</a:t>
            </a:r>
            <a:br>
              <a:rPr lang="en-US" sz="1300" dirty="0">
                <a:solidFill>
                  <a:schemeClr val="accent1"/>
                </a:solidFill>
              </a:rPr>
            </a:br>
            <a:r>
              <a:rPr lang="en-US" sz="1300" dirty="0">
                <a:solidFill>
                  <a:schemeClr val="accent1"/>
                </a:solidFill>
              </a:rPr>
              <a:t>2. Best Practices for Digital Transformation</a:t>
            </a:r>
            <a:br>
              <a:rPr lang="en-US" sz="1300" dirty="0">
                <a:solidFill>
                  <a:schemeClr val="accent1"/>
                </a:solidFill>
              </a:rPr>
            </a:br>
            <a:r>
              <a:rPr lang="en-US" sz="1300" dirty="0">
                <a:solidFill>
                  <a:schemeClr val="accent1"/>
                </a:solidFill>
              </a:rPr>
              <a:t>3. Embracing an Agile Culture for Business </a:t>
            </a:r>
            <a:r>
              <a:rPr lang="en-US" sz="1300" dirty="0" smtClean="0">
                <a:solidFill>
                  <a:schemeClr val="accent1"/>
                </a:solidFill>
              </a:rPr>
              <a:t>Growth</a:t>
            </a:r>
            <a:endParaRPr lang="en-US" sz="1300" dirty="0">
              <a:solidFill>
                <a:schemeClr val="accent1"/>
              </a:solidFill>
            </a:endParaRPr>
          </a:p>
          <a:p>
            <a:pPr algn="just"/>
            <a:endParaRPr lang="de-DE" sz="1300" dirty="0" smtClean="0">
              <a:solidFill>
                <a:schemeClr val="accent1"/>
              </a:solidFill>
            </a:endParaRPr>
          </a:p>
          <a:p>
            <a:pPr algn="just"/>
            <a:endParaRPr lang="en-US" sz="1300" dirty="0">
              <a:solidFill>
                <a:schemeClr val="accent1"/>
              </a:solidFill>
            </a:endParaRPr>
          </a:p>
        </p:txBody>
      </p:sp>
      <p:pic>
        <p:nvPicPr>
          <p:cNvPr id="21" name="Grafik 20">
            <a:hlinkClick r:id="rId14"/>
          </p:cNvPr>
          <p:cNvPicPr>
            <a:picLocks noChangeAspect="1"/>
          </p:cNvPicPr>
          <p:nvPr/>
        </p:nvPicPr>
        <p:blipFill>
          <a:blip r:embed="rId15"/>
          <a:stretch>
            <a:fillRect/>
          </a:stretch>
        </p:blipFill>
        <p:spPr>
          <a:xfrm>
            <a:off x="8500191" y="2386790"/>
            <a:ext cx="3797643" cy="3328704"/>
          </a:xfrm>
          <a:prstGeom prst="rect">
            <a:avLst/>
          </a:prstGeom>
        </p:spPr>
      </p:pic>
      <p:pic>
        <p:nvPicPr>
          <p:cNvPr id="63" name="Picture 2" descr="Bildergebnis fÃ¼r click icon">
            <a:extLst>
              <a:ext uri="{FF2B5EF4-FFF2-40B4-BE49-F238E27FC236}">
                <a16:creationId xmlns:a16="http://schemas.microsoft.com/office/drawing/2014/main" xmlns="" id="{44FBCFEA-E867-4461-AD37-63D98B131912}"/>
              </a:ext>
            </a:extLst>
          </p:cNvPr>
          <p:cNvPicPr>
            <a:picLocks noChangeAspect="1" noChangeArrowheads="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940571" y="5288103"/>
            <a:ext cx="614505" cy="640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63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25.09.2018 11:11:43"/>
  <p:tag name="MIO_OBJECTNAME" val="Master Bayer AG 16:9 pre final"/>
  <p:tag name="MIO_CDID" val="cd9a71c7-8ed9-41a1-8303-1a6d1985851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IO_EKGUID" val="33934baa-7404-49ef-8b16-7c0b337cc6c7"/>
  <p:tag name="MIO_GUID" val="ea80e7f8-83ee-4ac3-90b6-9488909a76b6"/>
  <p:tag name="MIO_UPDATE" val="True"/>
  <p:tag name="MIO_VERSION" val="27.08.2018 13:23:46"/>
  <p:tag name="MIO_DBID" val="8E7267AE-489F-4B02-8040-8A98451BF141"/>
  <p:tag name="MIO_LASTDOWNLOADED" val="08.03.2019 13:31:03"/>
  <p:tag name="MIO_OBJECTNAME" val="Finger tipping at tablet"/>
  <p:tag name="MIO_LASTEDITORNAME" val="empower enterpris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EKGUID" val="81fd35e4-ab1d-4891-b6db-bc2a683a55af"/>
  <p:tag name="MIO_GUID" val="94b4dc77-f804-4c68-a776-c5d2a3905ee9"/>
  <p:tag name="MIO_UPDATE" val="True"/>
  <p:tag name="MIO_VERSION" val="27.08.2018 13:24:08"/>
  <p:tag name="MIO_DBID" val="8E7267AE-489F-4B02-8040-8A98451BF141"/>
  <p:tag name="MIO_LASTDOWNLOADED" val="15.03.2019 09:21:45"/>
  <p:tag name="MIO_OBJECTNAME" val="Man wearing vr glasses"/>
  <p:tag name="MIO_LASTEDITORNAME" val="empower enterprise"/>
</p:tagLst>
</file>

<file path=ppt/tags/tag31.xml><?xml version="1.0" encoding="utf-8"?>
<p:tagLst xmlns:a="http://schemas.openxmlformats.org/drawingml/2006/main" xmlns:r="http://schemas.openxmlformats.org/officeDocument/2006/relationships" xmlns:p="http://schemas.openxmlformats.org/presentationml/2006/main">
  <p:tag name="MIO_EKGUID" val="bf389671-656d-41a1-99fe-9f3e5bb4379f"/>
  <p:tag name="MIO_GUID" val="624bba9e-e644-4cee-9951-301537900370"/>
  <p:tag name="MIO_UPDATE" val="True"/>
  <p:tag name="MIO_VERSION" val="27.08.2018 13:24:09"/>
  <p:tag name="MIO_DBID" val="8E7267AE-489F-4B02-8040-8A98451BF141"/>
  <p:tag name="MIO_LASTDOWNLOADED" val="15.03.2019 09:21:54"/>
  <p:tag name="MIO_OBJECTNAME" val="Media devices with Network graphic"/>
  <p:tag name="MIO_LASTEDITORNAME" val="empower enterpris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 name="EMPOWER_OVERLAY_IGNORE" val="Yes please."/>
  <p:tag name="MIO_SELECTION_PROXY" val="00000000-0000-0000-0000-00000000000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Uep0F7dRrWSAL5Fxn2hAg"/>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PR_BAG_PPT-master-Dig-Transformation_16-9_2018-09-25">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xmlns="" name="Präsentation2" id="{9F44F183-6967-4C37-BC3A-F846C6343AA8}" vid="{2CD6D4D1-CF9C-4B16-993C-2A26F7415D1B}"/>
    </a:ext>
  </a:extLst>
</a:theme>
</file>

<file path=ppt/theme/theme2.xml><?xml version="1.0" encoding="utf-8"?>
<a:theme xmlns:a="http://schemas.openxmlformats.org/drawingml/2006/main" name="4_Innovation_Template_180528">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3.xml><?xml version="1.0" encoding="utf-8"?>
<a:theme xmlns:a="http://schemas.openxmlformats.org/drawingml/2006/main" name="Blank">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4.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3EB0964156BF545A10E4FAC73DF61C3" ma:contentTypeVersion="10" ma:contentTypeDescription="Ein neues Dokument erstellen." ma:contentTypeScope="" ma:versionID="b8b464c2a1a7e19c46ee7184f6f04ad9">
  <xsd:schema xmlns:xsd="http://www.w3.org/2001/XMLSchema" xmlns:xs="http://www.w3.org/2001/XMLSchema" xmlns:p="http://schemas.microsoft.com/office/2006/metadata/properties" xmlns:ns2="187f0efe-e2d2-4516-a3f6-43c29f863911" xmlns:ns3="f668bf24-1d08-49a6-b394-9f336ea90db2" targetNamespace="http://schemas.microsoft.com/office/2006/metadata/properties" ma:root="true" ma:fieldsID="c8a627d9ce3df62b8d53c7c1487325aa" ns2:_="" ns3:_="">
    <xsd:import namespace="187f0efe-e2d2-4516-a3f6-43c29f863911"/>
    <xsd:import namespace="f668bf24-1d08-49a6-b394-9f336ea90d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2:MediaServiceOCR" minOccurs="0"/>
                <xsd:element ref="ns2:MediaServiceLocation"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7f0efe-e2d2-4516-a3f6-43c29f8639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668bf24-1d08-49a6-b394-9f336ea90db2"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A12AE7-5F08-4C80-997F-96E338815917}">
  <ds:schemaRefs>
    <ds:schemaRef ds:uri="http://purl.org/dc/elements/1.1/"/>
    <ds:schemaRef ds:uri="http://purl.org/dc/terms/"/>
    <ds:schemaRef ds:uri="http://schemas.openxmlformats.org/package/2006/metadata/core-properties"/>
    <ds:schemaRef ds:uri="187f0efe-e2d2-4516-a3f6-43c29f863911"/>
    <ds:schemaRef ds:uri="http://purl.org/dc/dcmitype/"/>
    <ds:schemaRef ds:uri="http://www.w3.org/XML/1998/namespace"/>
    <ds:schemaRef ds:uri="http://schemas.microsoft.com/office/2006/documentManagement/types"/>
    <ds:schemaRef ds:uri="http://schemas.microsoft.com/office/infopath/2007/PartnerControls"/>
    <ds:schemaRef ds:uri="f668bf24-1d08-49a6-b394-9f336ea90db2"/>
    <ds:schemaRef ds:uri="http://schemas.microsoft.com/office/2006/metadata/properties"/>
  </ds:schemaRefs>
</ds:datastoreItem>
</file>

<file path=customXml/itemProps2.xml><?xml version="1.0" encoding="utf-8"?>
<ds:datastoreItem xmlns:ds="http://schemas.openxmlformats.org/officeDocument/2006/customXml" ds:itemID="{CED79BA2-B947-4742-9A87-9A71964B82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7f0efe-e2d2-4516-a3f6-43c29f863911"/>
    <ds:schemaRef ds:uri="f668bf24-1d08-49a6-b394-9f336ea90d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D1B5867-A53F-48AB-B0E7-37B5B46CB5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_BAG_PPT-master-Dig-Transformation_16-9_2018-09-25</Template>
  <TotalTime>0</TotalTime>
  <Words>665</Words>
  <Application>Microsoft Office PowerPoint</Application>
  <PresentationFormat>Custom</PresentationFormat>
  <Paragraphs>122</Paragraphs>
  <Slides>12</Slides>
  <Notes>11</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2</vt:i4>
      </vt:variant>
    </vt:vector>
  </HeadingPairs>
  <TitlesOfParts>
    <vt:vector size="17" baseType="lpstr">
      <vt:lpstr>PR_BAG_PPT-master-Dig-Transformation_16-9_2018-09-25</vt:lpstr>
      <vt:lpstr>4_Innovation_Template_180528</vt:lpstr>
      <vt:lpstr>Blank</vt:lpstr>
      <vt:lpstr>think-cell Folie</vt:lpstr>
      <vt:lpstr>think-cell Slide</vt:lpstr>
      <vt:lpstr> Digital Transformation – Learning Culture</vt:lpstr>
      <vt:lpstr>PowerPoint Presentation</vt:lpstr>
      <vt:lpstr>Megatrends </vt:lpstr>
      <vt:lpstr>The Future of Jobs Report 2018 – World Economic Forum Share of stable, new and redundant roles, 2018 vs. 2022 (projected) </vt:lpstr>
      <vt:lpstr>The Future of Jobs Report 2018 – World Economic Forum The external trends clearly show the urgent need for learning new skills and capabilities</vt:lpstr>
      <vt:lpstr>“Lifelong learning is essential…</vt:lpstr>
      <vt:lpstr>How does your calendar look like… </vt:lpstr>
      <vt:lpstr>PowerPoint Presentation</vt:lpstr>
      <vt:lpstr>PowerPoint Presentation</vt:lpstr>
      <vt:lpstr>PowerPoint Presentation</vt:lpstr>
      <vt:lpstr>Thank you!     </vt:lpstr>
      <vt:lpstr>Forward-Looking Statements</vt:lpstr>
    </vt:vector>
  </TitlesOfParts>
  <Company>Bay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creator>vera.gramkow@bayer.com</dc:creator>
  <cp:lastModifiedBy>Vera Gramkow</cp:lastModifiedBy>
  <cp:revision>89</cp:revision>
  <cp:lastPrinted>2019-03-18T11:34:44Z</cp:lastPrinted>
  <dcterms:created xsi:type="dcterms:W3CDTF">2019-01-02T09:17:16Z</dcterms:created>
  <dcterms:modified xsi:type="dcterms:W3CDTF">2019-10-10T06:3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E3EB0964156BF545A10E4FAC73DF61C3</vt:lpwstr>
  </property>
</Properties>
</file>